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14" r:id="rId1"/>
  </p:sldMasterIdLst>
  <p:notesMasterIdLst>
    <p:notesMasterId r:id="rId14"/>
  </p:notesMasterIdLst>
  <p:sldIdLst>
    <p:sldId id="279" r:id="rId2"/>
    <p:sldId id="280" r:id="rId3"/>
    <p:sldId id="270" r:id="rId4"/>
    <p:sldId id="281" r:id="rId5"/>
    <p:sldId id="271" r:id="rId6"/>
    <p:sldId id="257" r:id="rId7"/>
    <p:sldId id="258" r:id="rId8"/>
    <p:sldId id="264" r:id="rId9"/>
    <p:sldId id="266" r:id="rId10"/>
    <p:sldId id="267" r:id="rId11"/>
    <p:sldId id="268" r:id="rId12"/>
    <p:sldId id="263" r:id="rId1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0328"/>
    <a:srgbClr val="C0A8FE"/>
    <a:srgbClr val="7730CA"/>
    <a:srgbClr val="604A8B"/>
    <a:srgbClr val="290717"/>
    <a:srgbClr val="230D18"/>
    <a:srgbClr val="9933FF"/>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410" autoAdjust="0"/>
    <p:restoredTop sz="92240" autoAdjust="0"/>
  </p:normalViewPr>
  <p:slideViewPr>
    <p:cSldViewPr snapToGrid="0" showGuides="1">
      <p:cViewPr varScale="1">
        <p:scale>
          <a:sx n="71" d="100"/>
          <a:sy n="71" d="100"/>
        </p:scale>
        <p:origin x="616" y="4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158B27E-C639-4C17-8E25-3D412F72B96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21C3257-72B0-44BD-8638-F4565A688942}">
      <dgm:prSet/>
      <dgm:spPr>
        <a:solidFill>
          <a:schemeClr val="accent2">
            <a:lumMod val="50000"/>
          </a:schemeClr>
        </a:solidFill>
      </dgm:spPr>
      <dgm:t>
        <a:bodyPr/>
        <a:lstStyle/>
        <a:p>
          <a:r>
            <a:rPr lang="en-US" dirty="0">
              <a:latin typeface="Book Antiqua" panose="02040602050305030304" pitchFamily="18" charset="0"/>
            </a:rPr>
            <a:t>. Introduction</a:t>
          </a:r>
        </a:p>
      </dgm:t>
    </dgm:pt>
    <dgm:pt modelId="{B9249152-F8DD-4B90-B2B9-1FB71D762C11}" type="parTrans" cxnId="{40F94921-3C36-44EF-9155-366FEDF93CFB}">
      <dgm:prSet/>
      <dgm:spPr/>
      <dgm:t>
        <a:bodyPr/>
        <a:lstStyle/>
        <a:p>
          <a:endParaRPr lang="en-US"/>
        </a:p>
      </dgm:t>
    </dgm:pt>
    <dgm:pt modelId="{60E1C606-33B3-4DA6-882D-7257F9D2A129}" type="sibTrans" cxnId="{40F94921-3C36-44EF-9155-366FEDF93CFB}">
      <dgm:prSet/>
      <dgm:spPr/>
      <dgm:t>
        <a:bodyPr/>
        <a:lstStyle/>
        <a:p>
          <a:endParaRPr lang="en-US"/>
        </a:p>
      </dgm:t>
    </dgm:pt>
    <dgm:pt modelId="{3C8A383B-BBC3-43F1-A7A2-1338391250EB}">
      <dgm:prSet/>
      <dgm:spPr>
        <a:solidFill>
          <a:schemeClr val="tx2">
            <a:lumMod val="50000"/>
          </a:schemeClr>
        </a:solidFill>
      </dgm:spPr>
      <dgm:t>
        <a:bodyPr/>
        <a:lstStyle/>
        <a:p>
          <a:r>
            <a:rPr lang="en-US" dirty="0">
              <a:latin typeface="Book Antiqua" panose="02040602050305030304" pitchFamily="18" charset="0"/>
            </a:rPr>
            <a:t>. Why Should We Use Steganography?</a:t>
          </a:r>
        </a:p>
      </dgm:t>
    </dgm:pt>
    <dgm:pt modelId="{381F4B75-CA5F-4AEF-9BAD-C398F8AB9403}" type="parTrans" cxnId="{205D3B09-A51C-43C8-BF86-1AAAEEAD7DD3}">
      <dgm:prSet/>
      <dgm:spPr/>
      <dgm:t>
        <a:bodyPr/>
        <a:lstStyle/>
        <a:p>
          <a:endParaRPr lang="en-US"/>
        </a:p>
      </dgm:t>
    </dgm:pt>
    <dgm:pt modelId="{491A67DB-55C3-4753-B0F9-D4DE1B00F877}" type="sibTrans" cxnId="{205D3B09-A51C-43C8-BF86-1AAAEEAD7DD3}">
      <dgm:prSet/>
      <dgm:spPr/>
      <dgm:t>
        <a:bodyPr/>
        <a:lstStyle/>
        <a:p>
          <a:endParaRPr lang="en-US"/>
        </a:p>
      </dgm:t>
    </dgm:pt>
    <dgm:pt modelId="{6F8D8184-DC26-4671-B800-BEC9C2CB894F}">
      <dgm:prSet/>
      <dgm:spPr>
        <a:solidFill>
          <a:schemeClr val="accent2">
            <a:lumMod val="50000"/>
          </a:schemeClr>
        </a:solidFill>
      </dgm:spPr>
      <dgm:t>
        <a:bodyPr/>
        <a:lstStyle/>
        <a:p>
          <a:r>
            <a:rPr lang="en-US" dirty="0">
              <a:latin typeface="Book Antiqua" panose="02040602050305030304" pitchFamily="18" charset="0"/>
            </a:rPr>
            <a:t>. A Peek into the Problem Statement</a:t>
          </a:r>
        </a:p>
      </dgm:t>
    </dgm:pt>
    <dgm:pt modelId="{3097E8C4-915E-40A3-9085-F12ABBA1F0DB}" type="parTrans" cxnId="{8F51A399-0EFD-4B21-916D-EE90F2E9448A}">
      <dgm:prSet/>
      <dgm:spPr/>
      <dgm:t>
        <a:bodyPr/>
        <a:lstStyle/>
        <a:p>
          <a:endParaRPr lang="en-US"/>
        </a:p>
      </dgm:t>
    </dgm:pt>
    <dgm:pt modelId="{30F4E4F7-9FAD-4A1A-A2A2-867DD845BA05}" type="sibTrans" cxnId="{8F51A399-0EFD-4B21-916D-EE90F2E9448A}">
      <dgm:prSet/>
      <dgm:spPr/>
      <dgm:t>
        <a:bodyPr/>
        <a:lstStyle/>
        <a:p>
          <a:endParaRPr lang="en-US"/>
        </a:p>
      </dgm:t>
    </dgm:pt>
    <dgm:pt modelId="{F0994897-659F-4F9F-9BCC-76411C50F5EB}">
      <dgm:prSet/>
      <dgm:spPr>
        <a:solidFill>
          <a:schemeClr val="accent1">
            <a:lumMod val="50000"/>
          </a:schemeClr>
        </a:solidFill>
      </dgm:spPr>
      <dgm:t>
        <a:bodyPr/>
        <a:lstStyle/>
        <a:p>
          <a:r>
            <a:rPr lang="en-US" dirty="0">
              <a:latin typeface="Book Antiqua" panose="02040602050305030304" pitchFamily="18" charset="0"/>
            </a:rPr>
            <a:t>. Function of Steganography</a:t>
          </a:r>
        </a:p>
      </dgm:t>
    </dgm:pt>
    <dgm:pt modelId="{8E820B9F-919E-4044-9B78-459E8BC9DC38}" type="parTrans" cxnId="{825C3C0D-F7FF-4BDF-98C9-AF88BDB2222A}">
      <dgm:prSet/>
      <dgm:spPr/>
      <dgm:t>
        <a:bodyPr/>
        <a:lstStyle/>
        <a:p>
          <a:endParaRPr lang="en-US"/>
        </a:p>
      </dgm:t>
    </dgm:pt>
    <dgm:pt modelId="{911054F4-0945-4333-825A-24DFB6A6DAF1}" type="sibTrans" cxnId="{825C3C0D-F7FF-4BDF-98C9-AF88BDB2222A}">
      <dgm:prSet/>
      <dgm:spPr/>
      <dgm:t>
        <a:bodyPr/>
        <a:lstStyle/>
        <a:p>
          <a:endParaRPr lang="en-US"/>
        </a:p>
      </dgm:t>
    </dgm:pt>
    <dgm:pt modelId="{60D20B7C-7558-4A7C-B852-07154F12B415}">
      <dgm:prSet/>
      <dgm:spPr>
        <a:solidFill>
          <a:schemeClr val="accent2">
            <a:lumMod val="50000"/>
          </a:schemeClr>
        </a:solidFill>
      </dgm:spPr>
      <dgm:t>
        <a:bodyPr/>
        <a:lstStyle/>
        <a:p>
          <a:r>
            <a:rPr lang="en-US" dirty="0">
              <a:latin typeface="Book Antiqua" panose="02040602050305030304" pitchFamily="18" charset="0"/>
            </a:rPr>
            <a:t>. Implementation of Steganography in Python</a:t>
          </a:r>
        </a:p>
      </dgm:t>
    </dgm:pt>
    <dgm:pt modelId="{4400332C-BE23-48BD-9C02-0F3B20EBE648}" type="parTrans" cxnId="{FFCF288A-B78B-4AAA-93BD-7A3F1F3A0536}">
      <dgm:prSet/>
      <dgm:spPr/>
      <dgm:t>
        <a:bodyPr/>
        <a:lstStyle/>
        <a:p>
          <a:endParaRPr lang="en-US"/>
        </a:p>
      </dgm:t>
    </dgm:pt>
    <dgm:pt modelId="{64888346-284F-4BB5-92CF-3A8D78236209}" type="sibTrans" cxnId="{FFCF288A-B78B-4AAA-93BD-7A3F1F3A0536}">
      <dgm:prSet/>
      <dgm:spPr/>
      <dgm:t>
        <a:bodyPr/>
        <a:lstStyle/>
        <a:p>
          <a:endParaRPr lang="en-US"/>
        </a:p>
      </dgm:t>
    </dgm:pt>
    <dgm:pt modelId="{CECC5194-567D-4AF1-94FC-9F7D79C5650B}">
      <dgm:prSet/>
      <dgm:spPr>
        <a:solidFill>
          <a:schemeClr val="accent1">
            <a:lumMod val="50000"/>
          </a:schemeClr>
        </a:solidFill>
      </dgm:spPr>
      <dgm:t>
        <a:bodyPr/>
        <a:lstStyle/>
        <a:p>
          <a:r>
            <a:rPr lang="en-US" dirty="0">
              <a:latin typeface="Book Antiqua" panose="02040602050305030304" pitchFamily="18" charset="0"/>
            </a:rPr>
            <a:t>. Benefits of Steganography</a:t>
          </a:r>
        </a:p>
      </dgm:t>
    </dgm:pt>
    <dgm:pt modelId="{6EAA0B05-5B4C-4E31-BF14-69450FB77C0B}" type="parTrans" cxnId="{A8AE593C-E3A5-43E2-8DE2-F43F174BB1CE}">
      <dgm:prSet/>
      <dgm:spPr/>
      <dgm:t>
        <a:bodyPr/>
        <a:lstStyle/>
        <a:p>
          <a:endParaRPr lang="en-US"/>
        </a:p>
      </dgm:t>
    </dgm:pt>
    <dgm:pt modelId="{9F0B08FC-C3C4-4B26-BDCA-CF485EF8C4BD}" type="sibTrans" cxnId="{A8AE593C-E3A5-43E2-8DE2-F43F174BB1CE}">
      <dgm:prSet/>
      <dgm:spPr/>
      <dgm:t>
        <a:bodyPr/>
        <a:lstStyle/>
        <a:p>
          <a:endParaRPr lang="en-US"/>
        </a:p>
      </dgm:t>
    </dgm:pt>
    <dgm:pt modelId="{33FFF042-B234-4EB5-832F-3E11D5243974}">
      <dgm:prSet/>
      <dgm:spPr>
        <a:solidFill>
          <a:schemeClr val="tx2">
            <a:lumMod val="50000"/>
          </a:schemeClr>
        </a:solidFill>
      </dgm:spPr>
      <dgm:t>
        <a:bodyPr/>
        <a:lstStyle/>
        <a:p>
          <a:r>
            <a:rPr lang="en-US" dirty="0">
              <a:latin typeface="Book Antiqua" panose="02040602050305030304" pitchFamily="18" charset="0"/>
            </a:rPr>
            <a:t>. Disadvantages of Steganography</a:t>
          </a:r>
        </a:p>
      </dgm:t>
    </dgm:pt>
    <dgm:pt modelId="{43F96076-7268-4A2E-B432-EFE80080FACF}" type="parTrans" cxnId="{ABC7A124-489A-4DF2-B31E-82893A7D3708}">
      <dgm:prSet/>
      <dgm:spPr/>
      <dgm:t>
        <a:bodyPr/>
        <a:lstStyle/>
        <a:p>
          <a:endParaRPr lang="en-US"/>
        </a:p>
      </dgm:t>
    </dgm:pt>
    <dgm:pt modelId="{0B3CB740-E83E-4287-84E9-35CBF9C8A831}" type="sibTrans" cxnId="{ABC7A124-489A-4DF2-B31E-82893A7D3708}">
      <dgm:prSet/>
      <dgm:spPr/>
      <dgm:t>
        <a:bodyPr/>
        <a:lstStyle/>
        <a:p>
          <a:endParaRPr lang="en-US"/>
        </a:p>
      </dgm:t>
    </dgm:pt>
    <dgm:pt modelId="{1F151D26-608A-4175-B210-F6D673AC0C7D}" type="pres">
      <dgm:prSet presAssocID="{D158B27E-C639-4C17-8E25-3D412F72B965}" presName="linear" presStyleCnt="0">
        <dgm:presLayoutVars>
          <dgm:animLvl val="lvl"/>
          <dgm:resizeHandles val="exact"/>
        </dgm:presLayoutVars>
      </dgm:prSet>
      <dgm:spPr/>
    </dgm:pt>
    <dgm:pt modelId="{04751DCF-94BA-4AE9-AE40-BC278FB957EB}" type="pres">
      <dgm:prSet presAssocID="{421C3257-72B0-44BD-8638-F4565A688942}" presName="parentText" presStyleLbl="node1" presStyleIdx="0" presStyleCnt="7" custLinFactNeighborX="1919" custLinFactNeighborY="-35127">
        <dgm:presLayoutVars>
          <dgm:chMax val="0"/>
          <dgm:bulletEnabled val="1"/>
        </dgm:presLayoutVars>
      </dgm:prSet>
      <dgm:spPr/>
    </dgm:pt>
    <dgm:pt modelId="{86AB3D72-AB71-47FB-ACD9-06CDE9D1C1C2}" type="pres">
      <dgm:prSet presAssocID="{60E1C606-33B3-4DA6-882D-7257F9D2A129}" presName="spacer" presStyleCnt="0"/>
      <dgm:spPr/>
    </dgm:pt>
    <dgm:pt modelId="{DB0BA006-BE47-45D8-AC00-7CE339CD189A}" type="pres">
      <dgm:prSet presAssocID="{3C8A383B-BBC3-43F1-A7A2-1338391250EB}" presName="parentText" presStyleLbl="node1" presStyleIdx="1" presStyleCnt="7">
        <dgm:presLayoutVars>
          <dgm:chMax val="0"/>
          <dgm:bulletEnabled val="1"/>
        </dgm:presLayoutVars>
      </dgm:prSet>
      <dgm:spPr/>
    </dgm:pt>
    <dgm:pt modelId="{6AAE6EB4-9C3C-4FF5-8F89-1BBB345D0B6D}" type="pres">
      <dgm:prSet presAssocID="{491A67DB-55C3-4753-B0F9-D4DE1B00F877}" presName="spacer" presStyleCnt="0"/>
      <dgm:spPr/>
    </dgm:pt>
    <dgm:pt modelId="{1DC7F646-9BFE-4E86-8749-EEA519D61C47}" type="pres">
      <dgm:prSet presAssocID="{6F8D8184-DC26-4671-B800-BEC9C2CB894F}" presName="parentText" presStyleLbl="node1" presStyleIdx="2" presStyleCnt="7">
        <dgm:presLayoutVars>
          <dgm:chMax val="0"/>
          <dgm:bulletEnabled val="1"/>
        </dgm:presLayoutVars>
      </dgm:prSet>
      <dgm:spPr/>
    </dgm:pt>
    <dgm:pt modelId="{5FF72B5A-B4EA-4B86-9B38-8261FAC23B85}" type="pres">
      <dgm:prSet presAssocID="{30F4E4F7-9FAD-4A1A-A2A2-867DD845BA05}" presName="spacer" presStyleCnt="0"/>
      <dgm:spPr/>
    </dgm:pt>
    <dgm:pt modelId="{186F70C9-5F16-49CA-95F0-C82304E2DBE2}" type="pres">
      <dgm:prSet presAssocID="{F0994897-659F-4F9F-9BCC-76411C50F5EB}" presName="parentText" presStyleLbl="node1" presStyleIdx="3" presStyleCnt="7">
        <dgm:presLayoutVars>
          <dgm:chMax val="0"/>
          <dgm:bulletEnabled val="1"/>
        </dgm:presLayoutVars>
      </dgm:prSet>
      <dgm:spPr/>
    </dgm:pt>
    <dgm:pt modelId="{9BC2C515-9C37-45B5-82D6-62CB8C97894C}" type="pres">
      <dgm:prSet presAssocID="{911054F4-0945-4333-825A-24DFB6A6DAF1}" presName="spacer" presStyleCnt="0"/>
      <dgm:spPr/>
    </dgm:pt>
    <dgm:pt modelId="{850A545E-F0CF-4965-AF20-85818DF974D7}" type="pres">
      <dgm:prSet presAssocID="{60D20B7C-7558-4A7C-B852-07154F12B415}" presName="parentText" presStyleLbl="node1" presStyleIdx="4" presStyleCnt="7">
        <dgm:presLayoutVars>
          <dgm:chMax val="0"/>
          <dgm:bulletEnabled val="1"/>
        </dgm:presLayoutVars>
      </dgm:prSet>
      <dgm:spPr/>
    </dgm:pt>
    <dgm:pt modelId="{BD066CD2-32C6-4593-BFEC-5A1E35693234}" type="pres">
      <dgm:prSet presAssocID="{64888346-284F-4BB5-92CF-3A8D78236209}" presName="spacer" presStyleCnt="0"/>
      <dgm:spPr/>
    </dgm:pt>
    <dgm:pt modelId="{55A516AA-41A5-4D50-8B50-B6D6CDE827B8}" type="pres">
      <dgm:prSet presAssocID="{CECC5194-567D-4AF1-94FC-9F7D79C5650B}" presName="parentText" presStyleLbl="node1" presStyleIdx="5" presStyleCnt="7">
        <dgm:presLayoutVars>
          <dgm:chMax val="0"/>
          <dgm:bulletEnabled val="1"/>
        </dgm:presLayoutVars>
      </dgm:prSet>
      <dgm:spPr/>
    </dgm:pt>
    <dgm:pt modelId="{9EC82CB3-02C7-4A2D-AD74-62A9A09FA932}" type="pres">
      <dgm:prSet presAssocID="{9F0B08FC-C3C4-4B26-BDCA-CF485EF8C4BD}" presName="spacer" presStyleCnt="0"/>
      <dgm:spPr/>
    </dgm:pt>
    <dgm:pt modelId="{98D0B0DA-3A57-45BE-9FF4-CD8B9FA7513A}" type="pres">
      <dgm:prSet presAssocID="{33FFF042-B234-4EB5-832F-3E11D5243974}" presName="parentText" presStyleLbl="node1" presStyleIdx="6" presStyleCnt="7" custLinFactNeighborX="-24408" custLinFactNeighborY="63353">
        <dgm:presLayoutVars>
          <dgm:chMax val="0"/>
          <dgm:bulletEnabled val="1"/>
        </dgm:presLayoutVars>
      </dgm:prSet>
      <dgm:spPr/>
    </dgm:pt>
  </dgm:ptLst>
  <dgm:cxnLst>
    <dgm:cxn modelId="{205D3B09-A51C-43C8-BF86-1AAAEEAD7DD3}" srcId="{D158B27E-C639-4C17-8E25-3D412F72B965}" destId="{3C8A383B-BBC3-43F1-A7A2-1338391250EB}" srcOrd="1" destOrd="0" parTransId="{381F4B75-CA5F-4AEF-9BAD-C398F8AB9403}" sibTransId="{491A67DB-55C3-4753-B0F9-D4DE1B00F877}"/>
    <dgm:cxn modelId="{825C3C0D-F7FF-4BDF-98C9-AF88BDB2222A}" srcId="{D158B27E-C639-4C17-8E25-3D412F72B965}" destId="{F0994897-659F-4F9F-9BCC-76411C50F5EB}" srcOrd="3" destOrd="0" parTransId="{8E820B9F-919E-4044-9B78-459E8BC9DC38}" sibTransId="{911054F4-0945-4333-825A-24DFB6A6DAF1}"/>
    <dgm:cxn modelId="{B978E50F-81BD-4ED8-83E3-AAD4879428B9}" type="presOf" srcId="{3C8A383B-BBC3-43F1-A7A2-1338391250EB}" destId="{DB0BA006-BE47-45D8-AC00-7CE339CD189A}" srcOrd="0" destOrd="0" presId="urn:microsoft.com/office/officeart/2005/8/layout/vList2"/>
    <dgm:cxn modelId="{4C86EE20-C475-42A3-B50F-DD11973EF552}" type="presOf" srcId="{CECC5194-567D-4AF1-94FC-9F7D79C5650B}" destId="{55A516AA-41A5-4D50-8B50-B6D6CDE827B8}" srcOrd="0" destOrd="0" presId="urn:microsoft.com/office/officeart/2005/8/layout/vList2"/>
    <dgm:cxn modelId="{40F94921-3C36-44EF-9155-366FEDF93CFB}" srcId="{D158B27E-C639-4C17-8E25-3D412F72B965}" destId="{421C3257-72B0-44BD-8638-F4565A688942}" srcOrd="0" destOrd="0" parTransId="{B9249152-F8DD-4B90-B2B9-1FB71D762C11}" sibTransId="{60E1C606-33B3-4DA6-882D-7257F9D2A129}"/>
    <dgm:cxn modelId="{ABC7A124-489A-4DF2-B31E-82893A7D3708}" srcId="{D158B27E-C639-4C17-8E25-3D412F72B965}" destId="{33FFF042-B234-4EB5-832F-3E11D5243974}" srcOrd="6" destOrd="0" parTransId="{43F96076-7268-4A2E-B432-EFE80080FACF}" sibTransId="{0B3CB740-E83E-4287-84E9-35CBF9C8A831}"/>
    <dgm:cxn modelId="{D28CDE31-54E2-4E43-BD52-7CA10E6ACEC8}" type="presOf" srcId="{D158B27E-C639-4C17-8E25-3D412F72B965}" destId="{1F151D26-608A-4175-B210-F6D673AC0C7D}" srcOrd="0" destOrd="0" presId="urn:microsoft.com/office/officeart/2005/8/layout/vList2"/>
    <dgm:cxn modelId="{A8AE593C-E3A5-43E2-8DE2-F43F174BB1CE}" srcId="{D158B27E-C639-4C17-8E25-3D412F72B965}" destId="{CECC5194-567D-4AF1-94FC-9F7D79C5650B}" srcOrd="5" destOrd="0" parTransId="{6EAA0B05-5B4C-4E31-BF14-69450FB77C0B}" sibTransId="{9F0B08FC-C3C4-4B26-BDCA-CF485EF8C4BD}"/>
    <dgm:cxn modelId="{0600F53D-DBEB-4DB8-B8D4-05B876D63D58}" type="presOf" srcId="{60D20B7C-7558-4A7C-B852-07154F12B415}" destId="{850A545E-F0CF-4965-AF20-85818DF974D7}" srcOrd="0" destOrd="0" presId="urn:microsoft.com/office/officeart/2005/8/layout/vList2"/>
    <dgm:cxn modelId="{FA053069-E87F-4C20-B335-6089A4959547}" type="presOf" srcId="{33FFF042-B234-4EB5-832F-3E11D5243974}" destId="{98D0B0DA-3A57-45BE-9FF4-CD8B9FA7513A}" srcOrd="0" destOrd="0" presId="urn:microsoft.com/office/officeart/2005/8/layout/vList2"/>
    <dgm:cxn modelId="{03AC3B7B-C0E9-49AD-A9BE-5C01B17E81A2}" type="presOf" srcId="{6F8D8184-DC26-4671-B800-BEC9C2CB894F}" destId="{1DC7F646-9BFE-4E86-8749-EEA519D61C47}" srcOrd="0" destOrd="0" presId="urn:microsoft.com/office/officeart/2005/8/layout/vList2"/>
    <dgm:cxn modelId="{FFCF288A-B78B-4AAA-93BD-7A3F1F3A0536}" srcId="{D158B27E-C639-4C17-8E25-3D412F72B965}" destId="{60D20B7C-7558-4A7C-B852-07154F12B415}" srcOrd="4" destOrd="0" parTransId="{4400332C-BE23-48BD-9C02-0F3B20EBE648}" sibTransId="{64888346-284F-4BB5-92CF-3A8D78236209}"/>
    <dgm:cxn modelId="{8F51A399-0EFD-4B21-916D-EE90F2E9448A}" srcId="{D158B27E-C639-4C17-8E25-3D412F72B965}" destId="{6F8D8184-DC26-4671-B800-BEC9C2CB894F}" srcOrd="2" destOrd="0" parTransId="{3097E8C4-915E-40A3-9085-F12ABBA1F0DB}" sibTransId="{30F4E4F7-9FAD-4A1A-A2A2-867DD845BA05}"/>
    <dgm:cxn modelId="{541A799A-5BF8-4982-8114-5AD704CE73B2}" type="presOf" srcId="{421C3257-72B0-44BD-8638-F4565A688942}" destId="{04751DCF-94BA-4AE9-AE40-BC278FB957EB}" srcOrd="0" destOrd="0" presId="urn:microsoft.com/office/officeart/2005/8/layout/vList2"/>
    <dgm:cxn modelId="{B524F7AD-DADA-4F3B-9C73-CCF2447D0492}" type="presOf" srcId="{F0994897-659F-4F9F-9BCC-76411C50F5EB}" destId="{186F70C9-5F16-49CA-95F0-C82304E2DBE2}" srcOrd="0" destOrd="0" presId="urn:microsoft.com/office/officeart/2005/8/layout/vList2"/>
    <dgm:cxn modelId="{74DEF07A-2986-4483-989A-ECF2776FEF47}" type="presParOf" srcId="{1F151D26-608A-4175-B210-F6D673AC0C7D}" destId="{04751DCF-94BA-4AE9-AE40-BC278FB957EB}" srcOrd="0" destOrd="0" presId="urn:microsoft.com/office/officeart/2005/8/layout/vList2"/>
    <dgm:cxn modelId="{DE0200C9-A324-4F7E-B2B2-A5F843359937}" type="presParOf" srcId="{1F151D26-608A-4175-B210-F6D673AC0C7D}" destId="{86AB3D72-AB71-47FB-ACD9-06CDE9D1C1C2}" srcOrd="1" destOrd="0" presId="urn:microsoft.com/office/officeart/2005/8/layout/vList2"/>
    <dgm:cxn modelId="{A17964B0-81F0-4FAB-AAA0-5FFA1A4D6566}" type="presParOf" srcId="{1F151D26-608A-4175-B210-F6D673AC0C7D}" destId="{DB0BA006-BE47-45D8-AC00-7CE339CD189A}" srcOrd="2" destOrd="0" presId="urn:microsoft.com/office/officeart/2005/8/layout/vList2"/>
    <dgm:cxn modelId="{CC89136B-8981-438C-A698-FBF94C29B677}" type="presParOf" srcId="{1F151D26-608A-4175-B210-F6D673AC0C7D}" destId="{6AAE6EB4-9C3C-4FF5-8F89-1BBB345D0B6D}" srcOrd="3" destOrd="0" presId="urn:microsoft.com/office/officeart/2005/8/layout/vList2"/>
    <dgm:cxn modelId="{1520D46C-41AD-40E9-BD3F-80A2B846D6A6}" type="presParOf" srcId="{1F151D26-608A-4175-B210-F6D673AC0C7D}" destId="{1DC7F646-9BFE-4E86-8749-EEA519D61C47}" srcOrd="4" destOrd="0" presId="urn:microsoft.com/office/officeart/2005/8/layout/vList2"/>
    <dgm:cxn modelId="{DDF98482-581E-4245-BE60-0C27E232C0B8}" type="presParOf" srcId="{1F151D26-608A-4175-B210-F6D673AC0C7D}" destId="{5FF72B5A-B4EA-4B86-9B38-8261FAC23B85}" srcOrd="5" destOrd="0" presId="urn:microsoft.com/office/officeart/2005/8/layout/vList2"/>
    <dgm:cxn modelId="{1DFC9A65-1EAB-4CED-ACA8-BB503B0E5E23}" type="presParOf" srcId="{1F151D26-608A-4175-B210-F6D673AC0C7D}" destId="{186F70C9-5F16-49CA-95F0-C82304E2DBE2}" srcOrd="6" destOrd="0" presId="urn:microsoft.com/office/officeart/2005/8/layout/vList2"/>
    <dgm:cxn modelId="{E546F4CC-0AC0-477C-8E56-EE5ED330B3B2}" type="presParOf" srcId="{1F151D26-608A-4175-B210-F6D673AC0C7D}" destId="{9BC2C515-9C37-45B5-82D6-62CB8C97894C}" srcOrd="7" destOrd="0" presId="urn:microsoft.com/office/officeart/2005/8/layout/vList2"/>
    <dgm:cxn modelId="{64FCCAB8-B94E-4CA9-A0BB-7965A033B9B7}" type="presParOf" srcId="{1F151D26-608A-4175-B210-F6D673AC0C7D}" destId="{850A545E-F0CF-4965-AF20-85818DF974D7}" srcOrd="8" destOrd="0" presId="urn:microsoft.com/office/officeart/2005/8/layout/vList2"/>
    <dgm:cxn modelId="{63FFFF67-E515-49A6-8B57-3B5D9D00D140}" type="presParOf" srcId="{1F151D26-608A-4175-B210-F6D673AC0C7D}" destId="{BD066CD2-32C6-4593-BFEC-5A1E35693234}" srcOrd="9" destOrd="0" presId="urn:microsoft.com/office/officeart/2005/8/layout/vList2"/>
    <dgm:cxn modelId="{C00406FB-A041-47CF-A2E9-165F927AD48B}" type="presParOf" srcId="{1F151D26-608A-4175-B210-F6D673AC0C7D}" destId="{55A516AA-41A5-4D50-8B50-B6D6CDE827B8}" srcOrd="10" destOrd="0" presId="urn:microsoft.com/office/officeart/2005/8/layout/vList2"/>
    <dgm:cxn modelId="{79B5350E-9AD5-4120-AD37-CEAF9C30E049}" type="presParOf" srcId="{1F151D26-608A-4175-B210-F6D673AC0C7D}" destId="{9EC82CB3-02C7-4A2D-AD74-62A9A09FA932}" srcOrd="11" destOrd="0" presId="urn:microsoft.com/office/officeart/2005/8/layout/vList2"/>
    <dgm:cxn modelId="{02EAE232-1F86-4C3A-BA9C-91BE0E55054E}" type="presParOf" srcId="{1F151D26-608A-4175-B210-F6D673AC0C7D}" destId="{98D0B0DA-3A57-45BE-9FF4-CD8B9FA7513A}" srcOrd="1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5B541E5-3F76-474B-B2E3-03C6B16F2E53}" type="doc">
      <dgm:prSet loTypeId="urn:microsoft.com/office/officeart/2005/8/layout/hProcess11" loCatId="process" qsTypeId="urn:microsoft.com/office/officeart/2005/8/quickstyle/simple1" qsCatId="simple" csTypeId="urn:microsoft.com/office/officeart/2005/8/colors/accent1_2" csCatId="accent1" phldr="1"/>
      <dgm:spPr/>
      <dgm:t>
        <a:bodyPr/>
        <a:lstStyle/>
        <a:p>
          <a:endParaRPr lang="en-US"/>
        </a:p>
      </dgm:t>
    </dgm:pt>
    <dgm:pt modelId="{90C88882-0B0E-44F4-8B20-81929F135E28}">
      <dgm:prSet custT="1"/>
      <dgm:spPr/>
      <dgm:t>
        <a:bodyPr/>
        <a:lstStyle/>
        <a:p>
          <a:r>
            <a:rPr lang="en-GB" sz="2000" dirty="0"/>
            <a:t>To Understand the basics of steganography</a:t>
          </a:r>
          <a:endParaRPr lang="en-US" sz="2000" dirty="0"/>
        </a:p>
      </dgm:t>
    </dgm:pt>
    <dgm:pt modelId="{73CF9B90-19E3-4E88-9DE8-12939B4B9310}" type="parTrans" cxnId="{FA4575F1-D584-4366-BB44-62D8F82028F3}">
      <dgm:prSet/>
      <dgm:spPr/>
      <dgm:t>
        <a:bodyPr/>
        <a:lstStyle/>
        <a:p>
          <a:endParaRPr lang="en-US"/>
        </a:p>
      </dgm:t>
    </dgm:pt>
    <dgm:pt modelId="{0EF9DC34-C495-439C-BA89-2AF2DC6837F1}" type="sibTrans" cxnId="{FA4575F1-D584-4366-BB44-62D8F82028F3}">
      <dgm:prSet/>
      <dgm:spPr/>
      <dgm:t>
        <a:bodyPr/>
        <a:lstStyle/>
        <a:p>
          <a:endParaRPr lang="en-US"/>
        </a:p>
      </dgm:t>
    </dgm:pt>
    <dgm:pt modelId="{62127F78-F1A2-48F2-AA51-F3B952330A8F}">
      <dgm:prSet custT="1"/>
      <dgm:spPr/>
      <dgm:t>
        <a:bodyPr/>
        <a:lstStyle/>
        <a:p>
          <a:r>
            <a:rPr lang="en-GB" sz="2000" dirty="0"/>
            <a:t>To Get familiar with steganography tools and software</a:t>
          </a:r>
          <a:endParaRPr lang="en-US" sz="2000" dirty="0"/>
        </a:p>
      </dgm:t>
    </dgm:pt>
    <dgm:pt modelId="{2FFE0585-BAE3-410F-870C-93F3B507F367}" type="parTrans" cxnId="{633FEC78-D439-4FDA-B7B9-DEDE27BD9077}">
      <dgm:prSet/>
      <dgm:spPr/>
      <dgm:t>
        <a:bodyPr/>
        <a:lstStyle/>
        <a:p>
          <a:endParaRPr lang="en-US"/>
        </a:p>
      </dgm:t>
    </dgm:pt>
    <dgm:pt modelId="{C3BDEC53-08AC-4567-9A67-8D7AD7325FC2}" type="sibTrans" cxnId="{633FEC78-D439-4FDA-B7B9-DEDE27BD9077}">
      <dgm:prSet/>
      <dgm:spPr/>
      <dgm:t>
        <a:bodyPr/>
        <a:lstStyle/>
        <a:p>
          <a:endParaRPr lang="en-US"/>
        </a:p>
      </dgm:t>
    </dgm:pt>
    <dgm:pt modelId="{9B96CE4C-6409-4F22-8D5A-949B225C3710}">
      <dgm:prSet custT="1"/>
      <dgm:spPr/>
      <dgm:t>
        <a:bodyPr/>
        <a:lstStyle/>
        <a:p>
          <a:r>
            <a:rPr lang="en-GB" sz="2000" dirty="0"/>
            <a:t>To Understand the role of steganography in security and privacy</a:t>
          </a:r>
          <a:endParaRPr lang="en-US" sz="2000" dirty="0"/>
        </a:p>
      </dgm:t>
    </dgm:pt>
    <dgm:pt modelId="{1EFBB6B7-F414-4300-9131-B37D5B2DCE3E}" type="parTrans" cxnId="{318C65DE-2EA5-45FB-8DCF-23A3EDED6A9A}">
      <dgm:prSet/>
      <dgm:spPr/>
      <dgm:t>
        <a:bodyPr/>
        <a:lstStyle/>
        <a:p>
          <a:endParaRPr lang="en-US"/>
        </a:p>
      </dgm:t>
    </dgm:pt>
    <dgm:pt modelId="{3A9FF443-DC44-4ABE-93B9-4A9B9C47BFBC}" type="sibTrans" cxnId="{318C65DE-2EA5-45FB-8DCF-23A3EDED6A9A}">
      <dgm:prSet/>
      <dgm:spPr/>
      <dgm:t>
        <a:bodyPr/>
        <a:lstStyle/>
        <a:p>
          <a:endParaRPr lang="en-US"/>
        </a:p>
      </dgm:t>
    </dgm:pt>
    <dgm:pt modelId="{7E0753C7-24F8-43B4-AAF6-48698DA1F9E1}">
      <dgm:prSet custT="1"/>
      <dgm:spPr/>
      <dgm:t>
        <a:bodyPr/>
        <a:lstStyle/>
        <a:p>
          <a:r>
            <a:rPr lang="en-GB" sz="2000" dirty="0"/>
            <a:t>To develop the skills and to apply steganography in real-world scenarios</a:t>
          </a:r>
          <a:endParaRPr lang="en-US" sz="2000" dirty="0"/>
        </a:p>
      </dgm:t>
    </dgm:pt>
    <dgm:pt modelId="{82EA44FB-E2A3-48D0-BADD-2D050C4D44BC}" type="parTrans" cxnId="{58875B53-1351-4371-9AD3-2FBA3D1D3BFC}">
      <dgm:prSet/>
      <dgm:spPr/>
      <dgm:t>
        <a:bodyPr/>
        <a:lstStyle/>
        <a:p>
          <a:endParaRPr lang="en-US"/>
        </a:p>
      </dgm:t>
    </dgm:pt>
    <dgm:pt modelId="{E13C1E67-AB61-480E-B1D3-A6AE835FD2E7}" type="sibTrans" cxnId="{58875B53-1351-4371-9AD3-2FBA3D1D3BFC}">
      <dgm:prSet/>
      <dgm:spPr/>
      <dgm:t>
        <a:bodyPr/>
        <a:lstStyle/>
        <a:p>
          <a:endParaRPr lang="en-US"/>
        </a:p>
      </dgm:t>
    </dgm:pt>
    <dgm:pt modelId="{78D03CFF-409B-4E6F-9431-16C5A4E3088A}">
      <dgm:prSet custT="1"/>
      <dgm:spPr/>
      <dgm:t>
        <a:bodyPr/>
        <a:lstStyle/>
        <a:p>
          <a:r>
            <a:rPr lang="en-GB" sz="2000" dirty="0"/>
            <a:t>To understand the limitations and risks of steganograph</a:t>
          </a:r>
          <a:r>
            <a:rPr lang="en-GB" sz="1900" dirty="0"/>
            <a:t>y</a:t>
          </a:r>
          <a:endParaRPr lang="en-US" sz="1900" dirty="0"/>
        </a:p>
      </dgm:t>
    </dgm:pt>
    <dgm:pt modelId="{7C33630C-A323-4D45-A9DE-6C1989B0D52A}" type="parTrans" cxnId="{7C004A20-6CF4-486D-8E25-CA8B7FAEEB13}">
      <dgm:prSet/>
      <dgm:spPr/>
      <dgm:t>
        <a:bodyPr/>
        <a:lstStyle/>
        <a:p>
          <a:endParaRPr lang="en-US"/>
        </a:p>
      </dgm:t>
    </dgm:pt>
    <dgm:pt modelId="{8AF08206-46E7-498F-8C05-25320264B869}" type="sibTrans" cxnId="{7C004A20-6CF4-486D-8E25-CA8B7FAEEB13}">
      <dgm:prSet/>
      <dgm:spPr/>
      <dgm:t>
        <a:bodyPr/>
        <a:lstStyle/>
        <a:p>
          <a:endParaRPr lang="en-US"/>
        </a:p>
      </dgm:t>
    </dgm:pt>
    <dgm:pt modelId="{C122F91A-A80E-43C3-A95B-4EC69D48CFB5}" type="pres">
      <dgm:prSet presAssocID="{C5B541E5-3F76-474B-B2E3-03C6B16F2E53}" presName="Name0" presStyleCnt="0">
        <dgm:presLayoutVars>
          <dgm:dir/>
          <dgm:resizeHandles val="exact"/>
        </dgm:presLayoutVars>
      </dgm:prSet>
      <dgm:spPr/>
    </dgm:pt>
    <dgm:pt modelId="{FC32CC7E-4731-4D83-8FFA-85A03DFBA2E2}" type="pres">
      <dgm:prSet presAssocID="{C5B541E5-3F76-474B-B2E3-03C6B16F2E53}" presName="arrow" presStyleLbl="bgShp" presStyleIdx="0" presStyleCnt="1"/>
      <dgm:spPr>
        <a:gradFill rotWithShape="0">
          <a:gsLst>
            <a:gs pos="0">
              <a:schemeClr val="accent1">
                <a:lumMod val="5000"/>
                <a:lumOff val="95000"/>
              </a:schemeClr>
            </a:gs>
            <a:gs pos="74000">
              <a:schemeClr val="accent1">
                <a:lumMod val="45000"/>
                <a:lumOff val="55000"/>
              </a:schemeClr>
            </a:gs>
            <a:gs pos="84000">
              <a:schemeClr val="accent1">
                <a:lumMod val="45000"/>
                <a:lumOff val="55000"/>
              </a:schemeClr>
            </a:gs>
          </a:gsLst>
          <a:lin ang="5400000" scaled="1"/>
        </a:gradFill>
        <a:ln>
          <a:solidFill>
            <a:schemeClr val="lt1">
              <a:hueOff val="0"/>
              <a:satOff val="0"/>
              <a:lumOff val="0"/>
            </a:schemeClr>
          </a:solidFill>
        </a:ln>
      </dgm:spPr>
    </dgm:pt>
    <dgm:pt modelId="{C50C336C-4816-42F8-A547-FBB05F75BD35}" type="pres">
      <dgm:prSet presAssocID="{C5B541E5-3F76-474B-B2E3-03C6B16F2E53}" presName="points" presStyleCnt="0"/>
      <dgm:spPr/>
    </dgm:pt>
    <dgm:pt modelId="{934703F8-0B69-4CD8-9F2C-6BA5BA43DEEC}" type="pres">
      <dgm:prSet presAssocID="{90C88882-0B0E-44F4-8B20-81929F135E28}" presName="compositeA" presStyleCnt="0"/>
      <dgm:spPr/>
    </dgm:pt>
    <dgm:pt modelId="{62E41050-D0D2-4EAC-8997-8CA922B30072}" type="pres">
      <dgm:prSet presAssocID="{90C88882-0B0E-44F4-8B20-81929F135E28}" presName="textA" presStyleLbl="revTx" presStyleIdx="0" presStyleCnt="5" custScaleX="227705" custScaleY="97025">
        <dgm:presLayoutVars>
          <dgm:bulletEnabled val="1"/>
        </dgm:presLayoutVars>
      </dgm:prSet>
      <dgm:spPr/>
    </dgm:pt>
    <dgm:pt modelId="{144FD614-C218-4E84-8979-CC95E5EDACD4}" type="pres">
      <dgm:prSet presAssocID="{90C88882-0B0E-44F4-8B20-81929F135E28}" presName="circleA" presStyleLbl="node1" presStyleIdx="0" presStyleCnt="5"/>
      <dgm:spPr/>
    </dgm:pt>
    <dgm:pt modelId="{4E84A01D-C6AC-4CBC-A403-4CCE2BA0C42A}" type="pres">
      <dgm:prSet presAssocID="{90C88882-0B0E-44F4-8B20-81929F135E28}" presName="spaceA" presStyleCnt="0"/>
      <dgm:spPr/>
    </dgm:pt>
    <dgm:pt modelId="{F3C2EEE8-155A-47FE-B563-02C1BC72D60B}" type="pres">
      <dgm:prSet presAssocID="{0EF9DC34-C495-439C-BA89-2AF2DC6837F1}" presName="space" presStyleCnt="0"/>
      <dgm:spPr/>
    </dgm:pt>
    <dgm:pt modelId="{6CB2662A-650E-4BF4-A7B8-F9986ECCDA55}" type="pres">
      <dgm:prSet presAssocID="{62127F78-F1A2-48F2-AA51-F3B952330A8F}" presName="compositeB" presStyleCnt="0"/>
      <dgm:spPr/>
    </dgm:pt>
    <dgm:pt modelId="{BFFCED95-A296-4765-B7EF-4FFA8B90B186}" type="pres">
      <dgm:prSet presAssocID="{62127F78-F1A2-48F2-AA51-F3B952330A8F}" presName="textB" presStyleLbl="revTx" presStyleIdx="1" presStyleCnt="5" custScaleX="171204">
        <dgm:presLayoutVars>
          <dgm:bulletEnabled val="1"/>
        </dgm:presLayoutVars>
      </dgm:prSet>
      <dgm:spPr/>
    </dgm:pt>
    <dgm:pt modelId="{665F6724-CD4F-4E8D-A837-8673DD117595}" type="pres">
      <dgm:prSet presAssocID="{62127F78-F1A2-48F2-AA51-F3B952330A8F}" presName="circleB" presStyleLbl="node1" presStyleIdx="1" presStyleCnt="5"/>
      <dgm:spPr/>
    </dgm:pt>
    <dgm:pt modelId="{507A4F9E-CB75-4664-9476-32F23B8B795C}" type="pres">
      <dgm:prSet presAssocID="{62127F78-F1A2-48F2-AA51-F3B952330A8F}" presName="spaceB" presStyleCnt="0"/>
      <dgm:spPr/>
    </dgm:pt>
    <dgm:pt modelId="{7DA4216F-4524-4B04-8DE4-7329CEEC1BD6}" type="pres">
      <dgm:prSet presAssocID="{C3BDEC53-08AC-4567-9A67-8D7AD7325FC2}" presName="space" presStyleCnt="0"/>
      <dgm:spPr/>
    </dgm:pt>
    <dgm:pt modelId="{8B500974-EF1B-4A15-95BF-6EC4A01B2B24}" type="pres">
      <dgm:prSet presAssocID="{9B96CE4C-6409-4F22-8D5A-949B225C3710}" presName="compositeA" presStyleCnt="0"/>
      <dgm:spPr/>
    </dgm:pt>
    <dgm:pt modelId="{C5D72B98-3112-4AAA-AE6B-88C797A5253B}" type="pres">
      <dgm:prSet presAssocID="{9B96CE4C-6409-4F22-8D5A-949B225C3710}" presName="textA" presStyleLbl="revTx" presStyleIdx="2" presStyleCnt="5" custScaleX="195642" custLinFactNeighborX="11349">
        <dgm:presLayoutVars>
          <dgm:bulletEnabled val="1"/>
        </dgm:presLayoutVars>
      </dgm:prSet>
      <dgm:spPr/>
    </dgm:pt>
    <dgm:pt modelId="{12B0319F-1C72-4946-8B5B-D53CDBBF86B6}" type="pres">
      <dgm:prSet presAssocID="{9B96CE4C-6409-4F22-8D5A-949B225C3710}" presName="circleA" presStyleLbl="node1" presStyleIdx="2" presStyleCnt="5" custLinFactNeighborX="38341" custLinFactNeighborY="12053"/>
      <dgm:spPr/>
    </dgm:pt>
    <dgm:pt modelId="{E6592E38-607C-4C7F-B267-81C12A4EB60C}" type="pres">
      <dgm:prSet presAssocID="{9B96CE4C-6409-4F22-8D5A-949B225C3710}" presName="spaceA" presStyleCnt="0"/>
      <dgm:spPr/>
    </dgm:pt>
    <dgm:pt modelId="{2C85BDC0-4038-4A73-8A6B-4415B1DF107B}" type="pres">
      <dgm:prSet presAssocID="{3A9FF443-DC44-4ABE-93B9-4A9B9C47BFBC}" presName="space" presStyleCnt="0"/>
      <dgm:spPr/>
    </dgm:pt>
    <dgm:pt modelId="{64254FF7-1A13-4DF5-A05C-E91FF2C4D0DC}" type="pres">
      <dgm:prSet presAssocID="{7E0753C7-24F8-43B4-AAF6-48698DA1F9E1}" presName="compositeB" presStyleCnt="0"/>
      <dgm:spPr/>
    </dgm:pt>
    <dgm:pt modelId="{EAB32BD6-A4A4-4F69-9265-D734A233A5FF}" type="pres">
      <dgm:prSet presAssocID="{7E0753C7-24F8-43B4-AAF6-48698DA1F9E1}" presName="textB" presStyleLbl="revTx" presStyleIdx="3" presStyleCnt="5" custScaleX="202006">
        <dgm:presLayoutVars>
          <dgm:bulletEnabled val="1"/>
        </dgm:presLayoutVars>
      </dgm:prSet>
      <dgm:spPr/>
    </dgm:pt>
    <dgm:pt modelId="{F6EDE368-46A1-485A-BBEF-9D427203C005}" type="pres">
      <dgm:prSet presAssocID="{7E0753C7-24F8-43B4-AAF6-48698DA1F9E1}" presName="circleB" presStyleLbl="node1" presStyleIdx="3" presStyleCnt="5"/>
      <dgm:spPr/>
    </dgm:pt>
    <dgm:pt modelId="{9D9CD93D-9071-43EF-8FAB-03811E05E914}" type="pres">
      <dgm:prSet presAssocID="{7E0753C7-24F8-43B4-AAF6-48698DA1F9E1}" presName="spaceB" presStyleCnt="0"/>
      <dgm:spPr/>
    </dgm:pt>
    <dgm:pt modelId="{1457FCD5-A024-4E92-AD6A-1001F3450D2C}" type="pres">
      <dgm:prSet presAssocID="{E13C1E67-AB61-480E-B1D3-A6AE835FD2E7}" presName="space" presStyleCnt="0"/>
      <dgm:spPr/>
    </dgm:pt>
    <dgm:pt modelId="{7A34BB7F-07D7-456E-8AF1-A9F496442749}" type="pres">
      <dgm:prSet presAssocID="{78D03CFF-409B-4E6F-9431-16C5A4E3088A}" presName="compositeA" presStyleCnt="0"/>
      <dgm:spPr/>
    </dgm:pt>
    <dgm:pt modelId="{525D59C5-539B-40DA-B014-69DFB60C9026}" type="pres">
      <dgm:prSet presAssocID="{78D03CFF-409B-4E6F-9431-16C5A4E3088A}" presName="textA" presStyleLbl="revTx" presStyleIdx="4" presStyleCnt="5" custScaleX="204417">
        <dgm:presLayoutVars>
          <dgm:bulletEnabled val="1"/>
        </dgm:presLayoutVars>
      </dgm:prSet>
      <dgm:spPr/>
    </dgm:pt>
    <dgm:pt modelId="{A36EFFF9-7976-4910-AC52-FFCE31A4BB1D}" type="pres">
      <dgm:prSet presAssocID="{78D03CFF-409B-4E6F-9431-16C5A4E3088A}" presName="circleA" presStyleLbl="node1" presStyleIdx="4" presStyleCnt="5"/>
      <dgm:spPr/>
    </dgm:pt>
    <dgm:pt modelId="{6E1CC210-0CE5-48BB-A8D2-CDA2A5731659}" type="pres">
      <dgm:prSet presAssocID="{78D03CFF-409B-4E6F-9431-16C5A4E3088A}" presName="spaceA" presStyleCnt="0"/>
      <dgm:spPr/>
    </dgm:pt>
  </dgm:ptLst>
  <dgm:cxnLst>
    <dgm:cxn modelId="{48314B04-86E9-4E09-95D7-29B8840D3336}" type="presOf" srcId="{7E0753C7-24F8-43B4-AAF6-48698DA1F9E1}" destId="{EAB32BD6-A4A4-4F69-9265-D734A233A5FF}" srcOrd="0" destOrd="0" presId="urn:microsoft.com/office/officeart/2005/8/layout/hProcess11"/>
    <dgm:cxn modelId="{BD4E0208-1CB8-4F46-9C42-B28FD9E46411}" type="presOf" srcId="{90C88882-0B0E-44F4-8B20-81929F135E28}" destId="{62E41050-D0D2-4EAC-8997-8CA922B30072}" srcOrd="0" destOrd="0" presId="urn:microsoft.com/office/officeart/2005/8/layout/hProcess11"/>
    <dgm:cxn modelId="{7C004A20-6CF4-486D-8E25-CA8B7FAEEB13}" srcId="{C5B541E5-3F76-474B-B2E3-03C6B16F2E53}" destId="{78D03CFF-409B-4E6F-9431-16C5A4E3088A}" srcOrd="4" destOrd="0" parTransId="{7C33630C-A323-4D45-A9DE-6C1989B0D52A}" sibTransId="{8AF08206-46E7-498F-8C05-25320264B869}"/>
    <dgm:cxn modelId="{58875B53-1351-4371-9AD3-2FBA3D1D3BFC}" srcId="{C5B541E5-3F76-474B-B2E3-03C6B16F2E53}" destId="{7E0753C7-24F8-43B4-AAF6-48698DA1F9E1}" srcOrd="3" destOrd="0" parTransId="{82EA44FB-E2A3-48D0-BADD-2D050C4D44BC}" sibTransId="{E13C1E67-AB61-480E-B1D3-A6AE835FD2E7}"/>
    <dgm:cxn modelId="{4AD67B56-7B8A-4257-86B8-C17A847A38A2}" type="presOf" srcId="{9B96CE4C-6409-4F22-8D5A-949B225C3710}" destId="{C5D72B98-3112-4AAA-AE6B-88C797A5253B}" srcOrd="0" destOrd="0" presId="urn:microsoft.com/office/officeart/2005/8/layout/hProcess11"/>
    <dgm:cxn modelId="{633FEC78-D439-4FDA-B7B9-DEDE27BD9077}" srcId="{C5B541E5-3F76-474B-B2E3-03C6B16F2E53}" destId="{62127F78-F1A2-48F2-AA51-F3B952330A8F}" srcOrd="1" destOrd="0" parTransId="{2FFE0585-BAE3-410F-870C-93F3B507F367}" sibTransId="{C3BDEC53-08AC-4567-9A67-8D7AD7325FC2}"/>
    <dgm:cxn modelId="{D94208D6-BCE1-4EF1-8E65-BCC3F4065F97}" type="presOf" srcId="{C5B541E5-3F76-474B-B2E3-03C6B16F2E53}" destId="{C122F91A-A80E-43C3-A95B-4EC69D48CFB5}" srcOrd="0" destOrd="0" presId="urn:microsoft.com/office/officeart/2005/8/layout/hProcess11"/>
    <dgm:cxn modelId="{318C65DE-2EA5-45FB-8DCF-23A3EDED6A9A}" srcId="{C5B541E5-3F76-474B-B2E3-03C6B16F2E53}" destId="{9B96CE4C-6409-4F22-8D5A-949B225C3710}" srcOrd="2" destOrd="0" parTransId="{1EFBB6B7-F414-4300-9131-B37D5B2DCE3E}" sibTransId="{3A9FF443-DC44-4ABE-93B9-4A9B9C47BFBC}"/>
    <dgm:cxn modelId="{FA4575F1-D584-4366-BB44-62D8F82028F3}" srcId="{C5B541E5-3F76-474B-B2E3-03C6B16F2E53}" destId="{90C88882-0B0E-44F4-8B20-81929F135E28}" srcOrd="0" destOrd="0" parTransId="{73CF9B90-19E3-4E88-9DE8-12939B4B9310}" sibTransId="{0EF9DC34-C495-439C-BA89-2AF2DC6837F1}"/>
    <dgm:cxn modelId="{292CF2F4-9B8F-4A7A-885C-116BDF610384}" type="presOf" srcId="{62127F78-F1A2-48F2-AA51-F3B952330A8F}" destId="{BFFCED95-A296-4765-B7EF-4FFA8B90B186}" srcOrd="0" destOrd="0" presId="urn:microsoft.com/office/officeart/2005/8/layout/hProcess11"/>
    <dgm:cxn modelId="{1915D6F8-A1F5-4489-905B-1B9C2824B240}" type="presOf" srcId="{78D03CFF-409B-4E6F-9431-16C5A4E3088A}" destId="{525D59C5-539B-40DA-B014-69DFB60C9026}" srcOrd="0" destOrd="0" presId="urn:microsoft.com/office/officeart/2005/8/layout/hProcess11"/>
    <dgm:cxn modelId="{3805DC08-29C4-4322-AFFC-B02522256EDA}" type="presParOf" srcId="{C122F91A-A80E-43C3-A95B-4EC69D48CFB5}" destId="{FC32CC7E-4731-4D83-8FFA-85A03DFBA2E2}" srcOrd="0" destOrd="0" presId="urn:microsoft.com/office/officeart/2005/8/layout/hProcess11"/>
    <dgm:cxn modelId="{85304940-A30C-4887-9608-457C2A73FFE8}" type="presParOf" srcId="{C122F91A-A80E-43C3-A95B-4EC69D48CFB5}" destId="{C50C336C-4816-42F8-A547-FBB05F75BD35}" srcOrd="1" destOrd="0" presId="urn:microsoft.com/office/officeart/2005/8/layout/hProcess11"/>
    <dgm:cxn modelId="{9F2299BE-C558-42F0-885C-884D7E35672F}" type="presParOf" srcId="{C50C336C-4816-42F8-A547-FBB05F75BD35}" destId="{934703F8-0B69-4CD8-9F2C-6BA5BA43DEEC}" srcOrd="0" destOrd="0" presId="urn:microsoft.com/office/officeart/2005/8/layout/hProcess11"/>
    <dgm:cxn modelId="{9EDC01EF-D618-4251-87A6-BE3F33087B33}" type="presParOf" srcId="{934703F8-0B69-4CD8-9F2C-6BA5BA43DEEC}" destId="{62E41050-D0D2-4EAC-8997-8CA922B30072}" srcOrd="0" destOrd="0" presId="urn:microsoft.com/office/officeart/2005/8/layout/hProcess11"/>
    <dgm:cxn modelId="{E4E3E694-1986-42C6-8B72-1FDA8BCC7C9C}" type="presParOf" srcId="{934703F8-0B69-4CD8-9F2C-6BA5BA43DEEC}" destId="{144FD614-C218-4E84-8979-CC95E5EDACD4}" srcOrd="1" destOrd="0" presId="urn:microsoft.com/office/officeart/2005/8/layout/hProcess11"/>
    <dgm:cxn modelId="{5446C056-1940-47B6-9E9D-D7E745B7DD71}" type="presParOf" srcId="{934703F8-0B69-4CD8-9F2C-6BA5BA43DEEC}" destId="{4E84A01D-C6AC-4CBC-A403-4CCE2BA0C42A}" srcOrd="2" destOrd="0" presId="urn:microsoft.com/office/officeart/2005/8/layout/hProcess11"/>
    <dgm:cxn modelId="{9A190E99-4FCA-4FC0-91D7-711BD2F9DD60}" type="presParOf" srcId="{C50C336C-4816-42F8-A547-FBB05F75BD35}" destId="{F3C2EEE8-155A-47FE-B563-02C1BC72D60B}" srcOrd="1" destOrd="0" presId="urn:microsoft.com/office/officeart/2005/8/layout/hProcess11"/>
    <dgm:cxn modelId="{24ECAA29-68DB-4139-B6D9-C72DCDE8C347}" type="presParOf" srcId="{C50C336C-4816-42F8-A547-FBB05F75BD35}" destId="{6CB2662A-650E-4BF4-A7B8-F9986ECCDA55}" srcOrd="2" destOrd="0" presId="urn:microsoft.com/office/officeart/2005/8/layout/hProcess11"/>
    <dgm:cxn modelId="{6E26D825-F3B2-41B8-9BE0-2DF2A46018D8}" type="presParOf" srcId="{6CB2662A-650E-4BF4-A7B8-F9986ECCDA55}" destId="{BFFCED95-A296-4765-B7EF-4FFA8B90B186}" srcOrd="0" destOrd="0" presId="urn:microsoft.com/office/officeart/2005/8/layout/hProcess11"/>
    <dgm:cxn modelId="{7D524B48-F49C-49A0-8DC0-0586FEF05E92}" type="presParOf" srcId="{6CB2662A-650E-4BF4-A7B8-F9986ECCDA55}" destId="{665F6724-CD4F-4E8D-A837-8673DD117595}" srcOrd="1" destOrd="0" presId="urn:microsoft.com/office/officeart/2005/8/layout/hProcess11"/>
    <dgm:cxn modelId="{016D9243-B2BE-4C95-A96A-DC3CE26037C9}" type="presParOf" srcId="{6CB2662A-650E-4BF4-A7B8-F9986ECCDA55}" destId="{507A4F9E-CB75-4664-9476-32F23B8B795C}" srcOrd="2" destOrd="0" presId="urn:microsoft.com/office/officeart/2005/8/layout/hProcess11"/>
    <dgm:cxn modelId="{C5DF7DB7-F944-42A9-B461-BC1F3BE19D88}" type="presParOf" srcId="{C50C336C-4816-42F8-A547-FBB05F75BD35}" destId="{7DA4216F-4524-4B04-8DE4-7329CEEC1BD6}" srcOrd="3" destOrd="0" presId="urn:microsoft.com/office/officeart/2005/8/layout/hProcess11"/>
    <dgm:cxn modelId="{B295CCA6-7825-43A5-9636-0B52385BFD88}" type="presParOf" srcId="{C50C336C-4816-42F8-A547-FBB05F75BD35}" destId="{8B500974-EF1B-4A15-95BF-6EC4A01B2B24}" srcOrd="4" destOrd="0" presId="urn:microsoft.com/office/officeart/2005/8/layout/hProcess11"/>
    <dgm:cxn modelId="{CC702CB2-2315-4BCA-8B83-FA0BD1585146}" type="presParOf" srcId="{8B500974-EF1B-4A15-95BF-6EC4A01B2B24}" destId="{C5D72B98-3112-4AAA-AE6B-88C797A5253B}" srcOrd="0" destOrd="0" presId="urn:microsoft.com/office/officeart/2005/8/layout/hProcess11"/>
    <dgm:cxn modelId="{E38A6E50-F02A-4333-81D7-30A7E73DF296}" type="presParOf" srcId="{8B500974-EF1B-4A15-95BF-6EC4A01B2B24}" destId="{12B0319F-1C72-4946-8B5B-D53CDBBF86B6}" srcOrd="1" destOrd="0" presId="urn:microsoft.com/office/officeart/2005/8/layout/hProcess11"/>
    <dgm:cxn modelId="{845D7BC8-23E0-4DBF-9379-8E36E897E9B2}" type="presParOf" srcId="{8B500974-EF1B-4A15-95BF-6EC4A01B2B24}" destId="{E6592E38-607C-4C7F-B267-81C12A4EB60C}" srcOrd="2" destOrd="0" presId="urn:microsoft.com/office/officeart/2005/8/layout/hProcess11"/>
    <dgm:cxn modelId="{A42A8FAB-B3D8-4FC8-83E2-E45129801929}" type="presParOf" srcId="{C50C336C-4816-42F8-A547-FBB05F75BD35}" destId="{2C85BDC0-4038-4A73-8A6B-4415B1DF107B}" srcOrd="5" destOrd="0" presId="urn:microsoft.com/office/officeart/2005/8/layout/hProcess11"/>
    <dgm:cxn modelId="{33DD42A9-CD07-4CAD-AF07-BE3DE95E651C}" type="presParOf" srcId="{C50C336C-4816-42F8-A547-FBB05F75BD35}" destId="{64254FF7-1A13-4DF5-A05C-E91FF2C4D0DC}" srcOrd="6" destOrd="0" presId="urn:microsoft.com/office/officeart/2005/8/layout/hProcess11"/>
    <dgm:cxn modelId="{B6F3964C-1614-45AC-B29B-AEA9A166A3E1}" type="presParOf" srcId="{64254FF7-1A13-4DF5-A05C-E91FF2C4D0DC}" destId="{EAB32BD6-A4A4-4F69-9265-D734A233A5FF}" srcOrd="0" destOrd="0" presId="urn:microsoft.com/office/officeart/2005/8/layout/hProcess11"/>
    <dgm:cxn modelId="{CFA059B4-A44D-48FD-BC37-499B52E56411}" type="presParOf" srcId="{64254FF7-1A13-4DF5-A05C-E91FF2C4D0DC}" destId="{F6EDE368-46A1-485A-BBEF-9D427203C005}" srcOrd="1" destOrd="0" presId="urn:microsoft.com/office/officeart/2005/8/layout/hProcess11"/>
    <dgm:cxn modelId="{9C03AE18-D710-4208-B88D-42173A5B137E}" type="presParOf" srcId="{64254FF7-1A13-4DF5-A05C-E91FF2C4D0DC}" destId="{9D9CD93D-9071-43EF-8FAB-03811E05E914}" srcOrd="2" destOrd="0" presId="urn:microsoft.com/office/officeart/2005/8/layout/hProcess11"/>
    <dgm:cxn modelId="{2195D44D-D0EA-4DD3-A935-3878A4707BF7}" type="presParOf" srcId="{C50C336C-4816-42F8-A547-FBB05F75BD35}" destId="{1457FCD5-A024-4E92-AD6A-1001F3450D2C}" srcOrd="7" destOrd="0" presId="urn:microsoft.com/office/officeart/2005/8/layout/hProcess11"/>
    <dgm:cxn modelId="{1D55E7DA-9482-4E8A-A63E-802603698CDE}" type="presParOf" srcId="{C50C336C-4816-42F8-A547-FBB05F75BD35}" destId="{7A34BB7F-07D7-456E-8AF1-A9F496442749}" srcOrd="8" destOrd="0" presId="urn:microsoft.com/office/officeart/2005/8/layout/hProcess11"/>
    <dgm:cxn modelId="{75B48DAA-DE75-410A-9BC4-108669735F3A}" type="presParOf" srcId="{7A34BB7F-07D7-456E-8AF1-A9F496442749}" destId="{525D59C5-539B-40DA-B014-69DFB60C9026}" srcOrd="0" destOrd="0" presId="urn:microsoft.com/office/officeart/2005/8/layout/hProcess11"/>
    <dgm:cxn modelId="{0854CF47-7A67-4E90-9954-C13BF5EFEA5A}" type="presParOf" srcId="{7A34BB7F-07D7-456E-8AF1-A9F496442749}" destId="{A36EFFF9-7976-4910-AC52-FFCE31A4BB1D}" srcOrd="1" destOrd="0" presId="urn:microsoft.com/office/officeart/2005/8/layout/hProcess11"/>
    <dgm:cxn modelId="{4FB4F7CC-E8EA-4AD4-8B95-C5A33638A7E8}" type="presParOf" srcId="{7A34BB7F-07D7-456E-8AF1-A9F496442749}" destId="{6E1CC210-0CE5-48BB-A8D2-CDA2A5731659}"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751DCF-94BA-4AE9-AE40-BC278FB957EB}">
      <dsp:nvSpPr>
        <dsp:cNvPr id="0" name=""/>
        <dsp:cNvSpPr/>
      </dsp:nvSpPr>
      <dsp:spPr>
        <a:xfrm>
          <a:off x="0" y="54047"/>
          <a:ext cx="9382987" cy="565110"/>
        </a:xfrm>
        <a:prstGeom prst="roundRect">
          <a:avLst/>
        </a:prstGeom>
        <a:solidFill>
          <a:schemeClr val="accent2">
            <a:lumMod val="5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latin typeface="Book Antiqua" panose="02040602050305030304" pitchFamily="18" charset="0"/>
            </a:rPr>
            <a:t>. Introduction</a:t>
          </a:r>
        </a:p>
      </dsp:txBody>
      <dsp:txXfrm>
        <a:off x="27586" y="81633"/>
        <a:ext cx="9327815" cy="509938"/>
      </dsp:txXfrm>
    </dsp:sp>
    <dsp:sp modelId="{DB0BA006-BE47-45D8-AC00-7CE339CD189A}">
      <dsp:nvSpPr>
        <dsp:cNvPr id="0" name=""/>
        <dsp:cNvSpPr/>
      </dsp:nvSpPr>
      <dsp:spPr>
        <a:xfrm>
          <a:off x="0" y="708665"/>
          <a:ext cx="9382987" cy="565110"/>
        </a:xfrm>
        <a:prstGeom prst="roundRect">
          <a:avLst/>
        </a:prstGeom>
        <a:solidFill>
          <a:schemeClr val="tx2">
            <a:lumMod val="5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latin typeface="Book Antiqua" panose="02040602050305030304" pitchFamily="18" charset="0"/>
            </a:rPr>
            <a:t>. Why Should We Use Steganography?</a:t>
          </a:r>
        </a:p>
      </dsp:txBody>
      <dsp:txXfrm>
        <a:off x="27586" y="736251"/>
        <a:ext cx="9327815" cy="509938"/>
      </dsp:txXfrm>
    </dsp:sp>
    <dsp:sp modelId="{1DC7F646-9BFE-4E86-8749-EEA519D61C47}">
      <dsp:nvSpPr>
        <dsp:cNvPr id="0" name=""/>
        <dsp:cNvSpPr/>
      </dsp:nvSpPr>
      <dsp:spPr>
        <a:xfrm>
          <a:off x="0" y="1340015"/>
          <a:ext cx="9382987" cy="565110"/>
        </a:xfrm>
        <a:prstGeom prst="roundRect">
          <a:avLst/>
        </a:prstGeom>
        <a:solidFill>
          <a:schemeClr val="accent2">
            <a:lumMod val="5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latin typeface="Book Antiqua" panose="02040602050305030304" pitchFamily="18" charset="0"/>
            </a:rPr>
            <a:t>. A Peek into the Problem Statement</a:t>
          </a:r>
        </a:p>
      </dsp:txBody>
      <dsp:txXfrm>
        <a:off x="27586" y="1367601"/>
        <a:ext cx="9327815" cy="509938"/>
      </dsp:txXfrm>
    </dsp:sp>
    <dsp:sp modelId="{186F70C9-5F16-49CA-95F0-C82304E2DBE2}">
      <dsp:nvSpPr>
        <dsp:cNvPr id="0" name=""/>
        <dsp:cNvSpPr/>
      </dsp:nvSpPr>
      <dsp:spPr>
        <a:xfrm>
          <a:off x="0" y="1971365"/>
          <a:ext cx="9382987" cy="565110"/>
        </a:xfrm>
        <a:prstGeom prst="roundRect">
          <a:avLst/>
        </a:prstGeom>
        <a:solidFill>
          <a:schemeClr val="accent1">
            <a:lumMod val="5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latin typeface="Book Antiqua" panose="02040602050305030304" pitchFamily="18" charset="0"/>
            </a:rPr>
            <a:t>. Function of Steganography</a:t>
          </a:r>
        </a:p>
      </dsp:txBody>
      <dsp:txXfrm>
        <a:off x="27586" y="1998951"/>
        <a:ext cx="9327815" cy="509938"/>
      </dsp:txXfrm>
    </dsp:sp>
    <dsp:sp modelId="{850A545E-F0CF-4965-AF20-85818DF974D7}">
      <dsp:nvSpPr>
        <dsp:cNvPr id="0" name=""/>
        <dsp:cNvSpPr/>
      </dsp:nvSpPr>
      <dsp:spPr>
        <a:xfrm>
          <a:off x="0" y="2602715"/>
          <a:ext cx="9382987" cy="565110"/>
        </a:xfrm>
        <a:prstGeom prst="roundRect">
          <a:avLst/>
        </a:prstGeom>
        <a:solidFill>
          <a:schemeClr val="accent2">
            <a:lumMod val="5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latin typeface="Book Antiqua" panose="02040602050305030304" pitchFamily="18" charset="0"/>
            </a:rPr>
            <a:t>. Implementation of Steganography in Python</a:t>
          </a:r>
        </a:p>
      </dsp:txBody>
      <dsp:txXfrm>
        <a:off x="27586" y="2630301"/>
        <a:ext cx="9327815" cy="509938"/>
      </dsp:txXfrm>
    </dsp:sp>
    <dsp:sp modelId="{55A516AA-41A5-4D50-8B50-B6D6CDE827B8}">
      <dsp:nvSpPr>
        <dsp:cNvPr id="0" name=""/>
        <dsp:cNvSpPr/>
      </dsp:nvSpPr>
      <dsp:spPr>
        <a:xfrm>
          <a:off x="0" y="3234065"/>
          <a:ext cx="9382987" cy="565110"/>
        </a:xfrm>
        <a:prstGeom prst="roundRect">
          <a:avLst/>
        </a:prstGeom>
        <a:solidFill>
          <a:schemeClr val="accent1">
            <a:lumMod val="5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latin typeface="Book Antiqua" panose="02040602050305030304" pitchFamily="18" charset="0"/>
            </a:rPr>
            <a:t>. Benefits of Steganography</a:t>
          </a:r>
        </a:p>
      </dsp:txBody>
      <dsp:txXfrm>
        <a:off x="27586" y="3261651"/>
        <a:ext cx="9327815" cy="509938"/>
      </dsp:txXfrm>
    </dsp:sp>
    <dsp:sp modelId="{98D0B0DA-3A57-45BE-9FF4-CD8B9FA7513A}">
      <dsp:nvSpPr>
        <dsp:cNvPr id="0" name=""/>
        <dsp:cNvSpPr/>
      </dsp:nvSpPr>
      <dsp:spPr>
        <a:xfrm>
          <a:off x="0" y="3907380"/>
          <a:ext cx="9382987" cy="565110"/>
        </a:xfrm>
        <a:prstGeom prst="roundRect">
          <a:avLst/>
        </a:prstGeom>
        <a:solidFill>
          <a:schemeClr val="tx2">
            <a:lumMod val="5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latin typeface="Book Antiqua" panose="02040602050305030304" pitchFamily="18" charset="0"/>
            </a:rPr>
            <a:t>. Disadvantages of Steganography</a:t>
          </a:r>
        </a:p>
      </dsp:txBody>
      <dsp:txXfrm>
        <a:off x="27586" y="3934966"/>
        <a:ext cx="9327815" cy="50993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32CC7E-4731-4D83-8FFA-85A03DFBA2E2}">
      <dsp:nvSpPr>
        <dsp:cNvPr id="0" name=""/>
        <dsp:cNvSpPr/>
      </dsp:nvSpPr>
      <dsp:spPr>
        <a:xfrm>
          <a:off x="0" y="1375534"/>
          <a:ext cx="10587211" cy="1834045"/>
        </a:xfrm>
        <a:prstGeom prst="notchedRightArrow">
          <a:avLst/>
        </a:prstGeom>
        <a:gradFill rotWithShape="0">
          <a:gsLst>
            <a:gs pos="0">
              <a:schemeClr val="accent1">
                <a:lumMod val="5000"/>
                <a:lumOff val="95000"/>
              </a:schemeClr>
            </a:gs>
            <a:gs pos="74000">
              <a:schemeClr val="accent1">
                <a:lumMod val="45000"/>
                <a:lumOff val="55000"/>
              </a:schemeClr>
            </a:gs>
            <a:gs pos="84000">
              <a:schemeClr val="accent1">
                <a:lumMod val="45000"/>
                <a:lumOff val="55000"/>
              </a:schemeClr>
            </a:gs>
          </a:gsLst>
          <a:lin ang="5400000" scaled="1"/>
        </a:gradFill>
        <a:ln>
          <a:solidFill>
            <a:schemeClr val="lt1">
              <a:hueOff val="0"/>
              <a:satOff val="0"/>
              <a:lumOff val="0"/>
            </a:schemeClr>
          </a:solidFill>
        </a:ln>
        <a:effectLst/>
      </dsp:spPr>
      <dsp:style>
        <a:lnRef idx="0">
          <a:scrgbClr r="0" g="0" b="0"/>
        </a:lnRef>
        <a:fillRef idx="1">
          <a:scrgbClr r="0" g="0" b="0"/>
        </a:fillRef>
        <a:effectRef idx="0">
          <a:scrgbClr r="0" g="0" b="0"/>
        </a:effectRef>
        <a:fontRef idx="minor"/>
      </dsp:style>
    </dsp:sp>
    <dsp:sp modelId="{62E41050-D0D2-4EAC-8997-8CA922B30072}">
      <dsp:nvSpPr>
        <dsp:cNvPr id="0" name=""/>
        <dsp:cNvSpPr/>
      </dsp:nvSpPr>
      <dsp:spPr>
        <a:xfrm>
          <a:off x="2203" y="13640"/>
          <a:ext cx="2124129" cy="17794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marL="0" lvl="0" indent="0" algn="ctr" defTabSz="889000">
            <a:lnSpc>
              <a:spcPct val="90000"/>
            </a:lnSpc>
            <a:spcBef>
              <a:spcPct val="0"/>
            </a:spcBef>
            <a:spcAft>
              <a:spcPct val="35000"/>
            </a:spcAft>
            <a:buNone/>
          </a:pPr>
          <a:r>
            <a:rPr lang="en-GB" sz="2000" kern="1200" dirty="0"/>
            <a:t>To Understand the basics of steganography</a:t>
          </a:r>
          <a:endParaRPr lang="en-US" sz="2000" kern="1200" dirty="0"/>
        </a:p>
      </dsp:txBody>
      <dsp:txXfrm>
        <a:off x="2203" y="13640"/>
        <a:ext cx="2124129" cy="1779482"/>
      </dsp:txXfrm>
    </dsp:sp>
    <dsp:sp modelId="{144FD614-C218-4E84-8979-CC95E5EDACD4}">
      <dsp:nvSpPr>
        <dsp:cNvPr id="0" name=""/>
        <dsp:cNvSpPr/>
      </dsp:nvSpPr>
      <dsp:spPr>
        <a:xfrm>
          <a:off x="835012" y="2049660"/>
          <a:ext cx="458511" cy="458511"/>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FCED95-A296-4765-B7EF-4FFA8B90B186}">
      <dsp:nvSpPr>
        <dsp:cNvPr id="0" name=""/>
        <dsp:cNvSpPr/>
      </dsp:nvSpPr>
      <dsp:spPr>
        <a:xfrm>
          <a:off x="2172975" y="2751068"/>
          <a:ext cx="1597064" cy="18340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0" lvl="0" indent="0" algn="ctr" defTabSz="889000">
            <a:lnSpc>
              <a:spcPct val="90000"/>
            </a:lnSpc>
            <a:spcBef>
              <a:spcPct val="0"/>
            </a:spcBef>
            <a:spcAft>
              <a:spcPct val="35000"/>
            </a:spcAft>
            <a:buNone/>
          </a:pPr>
          <a:r>
            <a:rPr lang="en-GB" sz="2000" kern="1200" dirty="0"/>
            <a:t>To Get familiar with steganography tools and software</a:t>
          </a:r>
          <a:endParaRPr lang="en-US" sz="2000" kern="1200" dirty="0"/>
        </a:p>
      </dsp:txBody>
      <dsp:txXfrm>
        <a:off x="2172975" y="2751068"/>
        <a:ext cx="1597064" cy="1834045"/>
      </dsp:txXfrm>
    </dsp:sp>
    <dsp:sp modelId="{665F6724-CD4F-4E8D-A837-8673DD117595}">
      <dsp:nvSpPr>
        <dsp:cNvPr id="0" name=""/>
        <dsp:cNvSpPr/>
      </dsp:nvSpPr>
      <dsp:spPr>
        <a:xfrm>
          <a:off x="2742251" y="2063301"/>
          <a:ext cx="458511" cy="458511"/>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5D72B98-3112-4AAA-AE6B-88C797A5253B}">
      <dsp:nvSpPr>
        <dsp:cNvPr id="0" name=""/>
        <dsp:cNvSpPr/>
      </dsp:nvSpPr>
      <dsp:spPr>
        <a:xfrm>
          <a:off x="3922550" y="0"/>
          <a:ext cx="1825032" cy="18340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marL="0" lvl="0" indent="0" algn="ctr" defTabSz="889000">
            <a:lnSpc>
              <a:spcPct val="90000"/>
            </a:lnSpc>
            <a:spcBef>
              <a:spcPct val="0"/>
            </a:spcBef>
            <a:spcAft>
              <a:spcPct val="35000"/>
            </a:spcAft>
            <a:buNone/>
          </a:pPr>
          <a:r>
            <a:rPr lang="en-GB" sz="2000" kern="1200" dirty="0"/>
            <a:t>To Understand the role of steganography in security and privacy</a:t>
          </a:r>
          <a:endParaRPr lang="en-US" sz="2000" kern="1200" dirty="0"/>
        </a:p>
      </dsp:txBody>
      <dsp:txXfrm>
        <a:off x="3922550" y="0"/>
        <a:ext cx="1825032" cy="1834045"/>
      </dsp:txXfrm>
    </dsp:sp>
    <dsp:sp modelId="{12B0319F-1C72-4946-8B5B-D53CDBBF86B6}">
      <dsp:nvSpPr>
        <dsp:cNvPr id="0" name=""/>
        <dsp:cNvSpPr/>
      </dsp:nvSpPr>
      <dsp:spPr>
        <a:xfrm>
          <a:off x="4675740" y="2118565"/>
          <a:ext cx="458511" cy="458511"/>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B32BD6-A4A4-4F69-9265-D734A233A5FF}">
      <dsp:nvSpPr>
        <dsp:cNvPr id="0" name=""/>
        <dsp:cNvSpPr/>
      </dsp:nvSpPr>
      <dsp:spPr>
        <a:xfrm>
          <a:off x="5688356" y="2751068"/>
          <a:ext cx="1884398" cy="18340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0" lvl="0" indent="0" algn="ctr" defTabSz="889000">
            <a:lnSpc>
              <a:spcPct val="90000"/>
            </a:lnSpc>
            <a:spcBef>
              <a:spcPct val="0"/>
            </a:spcBef>
            <a:spcAft>
              <a:spcPct val="35000"/>
            </a:spcAft>
            <a:buNone/>
          </a:pPr>
          <a:r>
            <a:rPr lang="en-GB" sz="2000" kern="1200" dirty="0"/>
            <a:t>To develop the skills and to apply steganography in real-world scenarios</a:t>
          </a:r>
          <a:endParaRPr lang="en-US" sz="2000" kern="1200" dirty="0"/>
        </a:p>
      </dsp:txBody>
      <dsp:txXfrm>
        <a:off x="5688356" y="2751068"/>
        <a:ext cx="1884398" cy="1834045"/>
      </dsp:txXfrm>
    </dsp:sp>
    <dsp:sp modelId="{F6EDE368-46A1-485A-BBEF-9D427203C005}">
      <dsp:nvSpPr>
        <dsp:cNvPr id="0" name=""/>
        <dsp:cNvSpPr/>
      </dsp:nvSpPr>
      <dsp:spPr>
        <a:xfrm>
          <a:off x="6401300" y="2063301"/>
          <a:ext cx="458511" cy="458511"/>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25D59C5-539B-40DA-B014-69DFB60C9026}">
      <dsp:nvSpPr>
        <dsp:cNvPr id="0" name=""/>
        <dsp:cNvSpPr/>
      </dsp:nvSpPr>
      <dsp:spPr>
        <a:xfrm>
          <a:off x="7619397" y="0"/>
          <a:ext cx="1906889" cy="18340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marL="0" lvl="0" indent="0" algn="ctr" defTabSz="889000">
            <a:lnSpc>
              <a:spcPct val="90000"/>
            </a:lnSpc>
            <a:spcBef>
              <a:spcPct val="0"/>
            </a:spcBef>
            <a:spcAft>
              <a:spcPct val="35000"/>
            </a:spcAft>
            <a:buNone/>
          </a:pPr>
          <a:r>
            <a:rPr lang="en-GB" sz="2000" kern="1200" dirty="0"/>
            <a:t>To understand the limitations and risks of steganograph</a:t>
          </a:r>
          <a:r>
            <a:rPr lang="en-GB" sz="1900" kern="1200" dirty="0"/>
            <a:t>y</a:t>
          </a:r>
          <a:endParaRPr lang="en-US" sz="1900" kern="1200" dirty="0"/>
        </a:p>
      </dsp:txBody>
      <dsp:txXfrm>
        <a:off x="7619397" y="0"/>
        <a:ext cx="1906889" cy="1834045"/>
      </dsp:txXfrm>
    </dsp:sp>
    <dsp:sp modelId="{A36EFFF9-7976-4910-AC52-FFCE31A4BB1D}">
      <dsp:nvSpPr>
        <dsp:cNvPr id="0" name=""/>
        <dsp:cNvSpPr/>
      </dsp:nvSpPr>
      <dsp:spPr>
        <a:xfrm>
          <a:off x="8343586" y="2063301"/>
          <a:ext cx="458511" cy="458511"/>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075A260-0366-49CF-A29E-2629BEE5130F}" type="datetimeFigureOut">
              <a:rPr lang="en-US" smtClean="0"/>
              <a:t>11/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B2230A-F3EA-4A69-9FF9-699829CE53F8}" type="slidenum">
              <a:rPr lang="en-US" smtClean="0"/>
              <a:t>‹#›</a:t>
            </a:fld>
            <a:endParaRPr lang="en-US"/>
          </a:p>
        </p:txBody>
      </p:sp>
    </p:spTree>
    <p:extLst>
      <p:ext uri="{BB962C8B-B14F-4D97-AF65-F5344CB8AC3E}">
        <p14:creationId xmlns:p14="http://schemas.microsoft.com/office/powerpoint/2010/main" val="28972893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unsplash.com/@sunday_digital?utm_source=unsplash&amp;utm_medium=referral&amp;utm_content=creditCopyText"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unsplash.com/s/photos/office?utm_source=unsplash&amp;utm_medium=referral&amp;utm_content=creditCopyText" TargetMode="Externa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unsplash.com/@sunday_digital?utm_source=unsplash&amp;utm_medium=referral&amp;utm_content=creditCopyText"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unsplash.com/s/photos/office?utm_source=unsplash&amp;utm_medium=referral&amp;utm_content=creditCopyText"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unsplash.com/s/photos/office?utm_source=unsplash&amp;utm_medium=referral&amp;utm_content=creditCopyText"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unsplash.com/s/photos/office?utm_source=unsplash&amp;utm_medium=referral&amp;utm_content=creditCopyText"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unsplash.com/s/photos/office?utm_source=unsplash&amp;utm_medium=referral&amp;utm_content=creditCopyText"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unsplash.com/@sunday_digital?utm_source=unsplash&amp;utm_medium=referral&amp;utm_content=creditCopyText"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unsplash.com/s/photos/office?utm_source=unsplash&amp;utm_medium=referral&amp;utm_content=creditCopyText"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unsplash.com/@copernicowork?utm_source=unsplash&amp;utm_medium=referral&amp;utm_content=creditCopyText"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unsplash.com/s/photos/office?utm_source=unsplash&amp;utm_medium=referral&amp;utm_content=creditCopyText"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unsplash.com/@dell?utm_source=unsplash&amp;utm_medium=referral&amp;utm_content=creditCopyText"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unsplash.com/s/photos/office?utm_source=unsplash&amp;utm_medium=referral&amp;utm_content=creditCopyText"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unsplash.com/es/@nicotitto?utm_source=unsplash&amp;utm_medium=referral&amp;utm_content=creditCopyText"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unsplash.com/s/photos/office?utm_source=unsplash&amp;utm_medium=referral&amp;utm_content=creditCopyTex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Nastuh</a:t>
            </a:r>
            <a:r>
              <a:rPr lang="en-US" dirty="0">
                <a:hlinkClick r:id="rId3"/>
              </a:rPr>
              <a:t> </a:t>
            </a:r>
            <a:r>
              <a:rPr lang="en-US" dirty="0" err="1">
                <a:hlinkClick r:id="rId3"/>
              </a:rPr>
              <a:t>Abootalebi</a:t>
            </a:r>
            <a:r>
              <a:rPr lang="en-US" dirty="0"/>
              <a:t> on </a:t>
            </a:r>
            <a:r>
              <a:rPr lang="en-US" dirty="0" err="1">
                <a:hlinkClick r:id="rId4"/>
              </a:rPr>
              <a:t>Unsplash</a:t>
            </a:r>
            <a:r>
              <a:rPr lang="en-US" dirty="0"/>
              <a:t> </a:t>
            </a:r>
          </a:p>
        </p:txBody>
      </p:sp>
      <p:sp>
        <p:nvSpPr>
          <p:cNvPr id="4" name="Slide Number Placeholder 3"/>
          <p:cNvSpPr>
            <a:spLocks noGrp="1"/>
          </p:cNvSpPr>
          <p:nvPr>
            <p:ph type="sldNum" sz="quarter" idx="5"/>
          </p:nvPr>
        </p:nvSpPr>
        <p:spPr/>
        <p:txBody>
          <a:bodyPr/>
          <a:lstStyle/>
          <a:p>
            <a:fld id="{E9B2230A-F3EA-4A69-9FF9-699829CE53F8}" type="slidenum">
              <a:rPr lang="en-US" smtClean="0"/>
              <a:t>1</a:t>
            </a:fld>
            <a:endParaRPr lang="en-US"/>
          </a:p>
        </p:txBody>
      </p:sp>
    </p:spTree>
    <p:extLst>
      <p:ext uri="{BB962C8B-B14F-4D97-AF65-F5344CB8AC3E}">
        <p14:creationId xmlns:p14="http://schemas.microsoft.com/office/powerpoint/2010/main" val="13455671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dirty="0"/>
              <a:t>Photo by </a:t>
            </a:r>
            <a:r>
              <a:rPr lang="en-ID" dirty="0" err="1">
                <a:hlinkClick r:id="rId3"/>
              </a:rPr>
              <a:t>Nastuh</a:t>
            </a:r>
            <a:r>
              <a:rPr lang="en-ID" dirty="0">
                <a:hlinkClick r:id="rId3"/>
              </a:rPr>
              <a:t> </a:t>
            </a:r>
            <a:r>
              <a:rPr lang="en-ID" dirty="0" err="1">
                <a:hlinkClick r:id="rId3"/>
              </a:rPr>
              <a:t>Abootalebi</a:t>
            </a:r>
            <a:r>
              <a:rPr lang="en-ID" dirty="0"/>
              <a:t> on </a:t>
            </a:r>
            <a:r>
              <a:rPr lang="en-ID" dirty="0" err="1">
                <a:hlinkClick r:id="rId4"/>
              </a:rPr>
              <a:t>Unsplash</a:t>
            </a:r>
            <a:r>
              <a:rPr lang="en-ID"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B2230A-F3EA-4A69-9FF9-699829CE53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86419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by </a:t>
            </a:r>
            <a:r>
              <a:rPr lang="en-US" b="0" i="0" u="none" strike="noStrike" dirty="0">
                <a:effectLst/>
                <a:latin typeface="-apple-system"/>
              </a:rPr>
              <a:t>Dylan Gillis </a:t>
            </a:r>
            <a:r>
              <a:rPr lang="en-US" dirty="0"/>
              <a:t>on </a:t>
            </a:r>
            <a:r>
              <a:rPr lang="en-US" dirty="0" err="1">
                <a:hlinkClick r:id="rId3"/>
              </a:rPr>
              <a:t>Unsplash</a:t>
            </a:r>
            <a:r>
              <a:rPr lang="en-US" dirty="0"/>
              <a:t> </a:t>
            </a:r>
            <a:endParaRPr lang="en-ID" dirty="0"/>
          </a:p>
          <a:p>
            <a:endParaRPr lang="en-US" dirty="0"/>
          </a:p>
        </p:txBody>
      </p:sp>
      <p:sp>
        <p:nvSpPr>
          <p:cNvPr id="4" name="Slide Number Placeholder 3"/>
          <p:cNvSpPr>
            <a:spLocks noGrp="1"/>
          </p:cNvSpPr>
          <p:nvPr>
            <p:ph type="sldNum" sz="quarter" idx="5"/>
          </p:nvPr>
        </p:nvSpPr>
        <p:spPr/>
        <p:txBody>
          <a:bodyPr/>
          <a:lstStyle/>
          <a:p>
            <a:fld id="{E9B2230A-F3EA-4A69-9FF9-699829CE53F8}" type="slidenum">
              <a:rPr lang="en-US" smtClean="0"/>
              <a:t>2</a:t>
            </a:fld>
            <a:endParaRPr lang="en-US"/>
          </a:p>
        </p:txBody>
      </p:sp>
    </p:spTree>
    <p:extLst>
      <p:ext uri="{BB962C8B-B14F-4D97-AF65-F5344CB8AC3E}">
        <p14:creationId xmlns:p14="http://schemas.microsoft.com/office/powerpoint/2010/main" val="10178044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B2230A-F3EA-4A69-9FF9-699829CE53F8}" type="slidenum">
              <a:rPr lang="en-US" smtClean="0"/>
              <a:t>4</a:t>
            </a:fld>
            <a:endParaRPr lang="en-US"/>
          </a:p>
        </p:txBody>
      </p:sp>
    </p:spTree>
    <p:extLst>
      <p:ext uri="{BB962C8B-B14F-4D97-AF65-F5344CB8AC3E}">
        <p14:creationId xmlns:p14="http://schemas.microsoft.com/office/powerpoint/2010/main" val="24204782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by </a:t>
            </a:r>
            <a:r>
              <a:rPr lang="en-US" b="0" i="0" u="none" strike="noStrike" dirty="0">
                <a:effectLst/>
                <a:latin typeface="-apple-system"/>
              </a:rPr>
              <a:t>Dylan Gillis </a:t>
            </a:r>
            <a:r>
              <a:rPr lang="en-US" dirty="0"/>
              <a:t>on </a:t>
            </a:r>
            <a:r>
              <a:rPr lang="en-US" dirty="0" err="1">
                <a:hlinkClick r:id="rId3"/>
              </a:rPr>
              <a:t>Unsplash</a:t>
            </a:r>
            <a:r>
              <a:rPr lang="en-US" dirty="0"/>
              <a:t> </a:t>
            </a:r>
            <a:endParaRPr lang="en-ID" dirty="0"/>
          </a:p>
          <a:p>
            <a:endParaRPr lang="en-US" dirty="0"/>
          </a:p>
        </p:txBody>
      </p:sp>
      <p:sp>
        <p:nvSpPr>
          <p:cNvPr id="4" name="Slide Number Placeholder 3"/>
          <p:cNvSpPr>
            <a:spLocks noGrp="1"/>
          </p:cNvSpPr>
          <p:nvPr>
            <p:ph type="sldNum" sz="quarter" idx="5"/>
          </p:nvPr>
        </p:nvSpPr>
        <p:spPr/>
        <p:txBody>
          <a:bodyPr/>
          <a:lstStyle/>
          <a:p>
            <a:fld id="{E9B2230A-F3EA-4A69-9FF9-699829CE53F8}" type="slidenum">
              <a:rPr lang="en-US" smtClean="0"/>
              <a:t>6</a:t>
            </a:fld>
            <a:endParaRPr lang="en-US"/>
          </a:p>
        </p:txBody>
      </p:sp>
    </p:spTree>
    <p:extLst>
      <p:ext uri="{BB962C8B-B14F-4D97-AF65-F5344CB8AC3E}">
        <p14:creationId xmlns:p14="http://schemas.microsoft.com/office/powerpoint/2010/main" val="27959154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by </a:t>
            </a:r>
            <a:r>
              <a:rPr lang="en-US" b="0" i="0" u="none" strike="noStrike" dirty="0" err="1">
                <a:effectLst/>
                <a:latin typeface="-apple-system"/>
              </a:rPr>
              <a:t>airfocus</a:t>
            </a:r>
            <a:r>
              <a:rPr lang="en-US" b="0" i="0" u="none" strike="noStrike" dirty="0">
                <a:effectLst/>
                <a:latin typeface="-apple-system"/>
              </a:rPr>
              <a:t> </a:t>
            </a:r>
            <a:r>
              <a:rPr lang="en-US" dirty="0"/>
              <a:t>on </a:t>
            </a:r>
            <a:r>
              <a:rPr lang="en-US" dirty="0" err="1">
                <a:hlinkClick r:id="rId3"/>
              </a:rPr>
              <a:t>Unsplash</a:t>
            </a:r>
            <a:r>
              <a:rPr lang="en-US" dirty="0"/>
              <a:t> </a:t>
            </a:r>
            <a:endParaRPr lang="en-ID" dirty="0"/>
          </a:p>
          <a:p>
            <a:endParaRPr lang="en-US" dirty="0"/>
          </a:p>
        </p:txBody>
      </p:sp>
      <p:sp>
        <p:nvSpPr>
          <p:cNvPr id="4" name="Slide Number Placeholder 3"/>
          <p:cNvSpPr>
            <a:spLocks noGrp="1"/>
          </p:cNvSpPr>
          <p:nvPr>
            <p:ph type="sldNum" sz="quarter" idx="5"/>
          </p:nvPr>
        </p:nvSpPr>
        <p:spPr/>
        <p:txBody>
          <a:bodyPr/>
          <a:lstStyle/>
          <a:p>
            <a:fld id="{E9B2230A-F3EA-4A69-9FF9-699829CE53F8}" type="slidenum">
              <a:rPr lang="en-US" smtClean="0"/>
              <a:t>7</a:t>
            </a:fld>
            <a:endParaRPr lang="en-US"/>
          </a:p>
        </p:txBody>
      </p:sp>
    </p:spTree>
    <p:extLst>
      <p:ext uri="{BB962C8B-B14F-4D97-AF65-F5344CB8AC3E}">
        <p14:creationId xmlns:p14="http://schemas.microsoft.com/office/powerpoint/2010/main" val="32391366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Nastuh</a:t>
            </a:r>
            <a:r>
              <a:rPr lang="en-US" dirty="0">
                <a:hlinkClick r:id="rId3"/>
              </a:rPr>
              <a:t> </a:t>
            </a:r>
            <a:r>
              <a:rPr lang="en-US" dirty="0" err="1">
                <a:hlinkClick r:id="rId3"/>
              </a:rPr>
              <a:t>Abootalebi</a:t>
            </a:r>
            <a:r>
              <a:rPr lang="en-US" dirty="0"/>
              <a:t> on </a:t>
            </a:r>
            <a:r>
              <a:rPr lang="en-US" dirty="0" err="1">
                <a:hlinkClick r:id="rId4"/>
              </a:rPr>
              <a:t>Unsplash</a:t>
            </a:r>
            <a:r>
              <a:rPr lang="en-US" dirty="0"/>
              <a:t> </a:t>
            </a:r>
          </a:p>
        </p:txBody>
      </p:sp>
      <p:sp>
        <p:nvSpPr>
          <p:cNvPr id="4" name="Slide Number Placeholder 3"/>
          <p:cNvSpPr>
            <a:spLocks noGrp="1"/>
          </p:cNvSpPr>
          <p:nvPr>
            <p:ph type="sldNum" sz="quarter" idx="5"/>
          </p:nvPr>
        </p:nvSpPr>
        <p:spPr/>
        <p:txBody>
          <a:bodyPr/>
          <a:lstStyle/>
          <a:p>
            <a:fld id="{E9B2230A-F3EA-4A69-9FF9-699829CE53F8}" type="slidenum">
              <a:rPr lang="en-US" smtClean="0"/>
              <a:t>8</a:t>
            </a:fld>
            <a:endParaRPr lang="en-US"/>
          </a:p>
        </p:txBody>
      </p:sp>
    </p:spTree>
    <p:extLst>
      <p:ext uri="{BB962C8B-B14F-4D97-AF65-F5344CB8AC3E}">
        <p14:creationId xmlns:p14="http://schemas.microsoft.com/office/powerpoint/2010/main" val="19414230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Copernico</a:t>
            </a:r>
            <a:r>
              <a:rPr lang="en-US" dirty="0"/>
              <a:t> on </a:t>
            </a:r>
            <a:r>
              <a:rPr lang="en-US" dirty="0" err="1">
                <a:hlinkClick r:id="rId4"/>
              </a:rPr>
              <a:t>Unsplash</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7E83B0-C60E-4A65-A170-A4C3C1001D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2376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Dell</a:t>
            </a:r>
            <a:r>
              <a:rPr lang="en-US" dirty="0"/>
              <a:t> on </a:t>
            </a:r>
            <a:r>
              <a:rPr lang="en-US" dirty="0" err="1">
                <a:hlinkClick r:id="rId4"/>
              </a:rPr>
              <a:t>Unsplash</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7E83B0-C60E-4A65-A170-A4C3C1001D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41134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nrd</a:t>
            </a:r>
            <a:r>
              <a:rPr lang="en-US" dirty="0"/>
              <a:t> on </a:t>
            </a:r>
            <a:r>
              <a:rPr lang="en-US" dirty="0" err="1">
                <a:hlinkClick r:id="rId4"/>
              </a:rPr>
              <a:t>Unsplash</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B2230A-F3EA-4A69-9FF9-699829CE53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50026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p:cNvSpPr/>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a:t>Click to edit Master title style</a:t>
            </a:r>
            <a:endParaRPr lang="en-US" dirty="0"/>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lgn="l">
              <a:defRPr/>
            </a:lvl1pPr>
          </a:lstStyle>
          <a:p>
            <a:fld id="{0A085A9B-E26B-43F8-BD8C-36BFA5BB926B}" type="datetime1">
              <a:rPr lang="en-US" smtClean="0"/>
              <a:t>11/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B09A56-2F1D-4318-9240-BF2B90CE364C}" type="slidenum">
              <a:rPr lang="en-US" smtClean="0"/>
              <a:t>‹#›</a:t>
            </a:fld>
            <a:endParaRPr lang="en-US"/>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30649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31892B3-6194-4626-8D5D-C1B1652730BB}" type="datetime1">
              <a:rPr lang="en-US" smtClean="0"/>
              <a:t>11/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9700947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762000"/>
            <a:ext cx="2628900" cy="5410200"/>
          </a:xfrm>
        </p:spPr>
        <p:txBody>
          <a:bodyPr vert="eaVert" lIns="45720" tIns="91440" rIns="45720" bIns="91440"/>
          <a:lstStyle/>
          <a:p>
            <a:r>
              <a:rPr lang="en-US"/>
              <a:t>Click to edit Master title style</a:t>
            </a:r>
            <a:endParaRPr lang="en-US" dirty="0"/>
          </a:p>
        </p:txBody>
      </p:sp>
      <p:sp>
        <p:nvSpPr>
          <p:cNvPr id="3" name="Vertical Text Placeholder 2"/>
          <p:cNvSpPr>
            <a:spLocks noGrp="1"/>
          </p:cNvSpPr>
          <p:nvPr>
            <p:ph type="body" orient="vert" idx="1"/>
          </p:nvPr>
        </p:nvSpPr>
        <p:spPr>
          <a:xfrm>
            <a:off x="990601" y="762000"/>
            <a:ext cx="7581900"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BC82BF5-E2BD-4206-95D4-3AE02BFB211A}" type="datetime1">
              <a:rPr lang="en-US" smtClean="0"/>
              <a:t>11/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B09A56-2F1D-4318-9240-BF2B90CE364C}" type="slidenum">
              <a:rPr lang="en-US" smtClean="0"/>
              <a:t>‹#›</a:t>
            </a:fld>
            <a:endParaRPr lang="en-US"/>
          </a:p>
        </p:txBody>
      </p:sp>
      <p:cxnSp>
        <p:nvCxnSpPr>
          <p:cNvPr id="7" name="Straight Connector 6"/>
          <p:cNvCxnSpPr/>
          <p:nvPr/>
        </p:nvCxnSpPr>
        <p:spPr>
          <a:xfrm rot="5400000" flipV="1">
            <a:off x="10058400" y="59263"/>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15464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DBE96C6-1843-4457-BC07-9141BB4CCF64}" type="datetime1">
              <a:rPr lang="en-US" smtClean="0"/>
              <a:t>11/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B09A56-2F1D-4318-9240-BF2B90CE364C}" type="slidenum">
              <a:rPr lang="en-US" smtClean="0"/>
              <a:t>‹#›</a:t>
            </a:fld>
            <a:endParaRPr lang="en-US"/>
          </a:p>
        </p:txBody>
      </p:sp>
      <p:graphicFrame>
        <p:nvGraphicFramePr>
          <p:cNvPr id="7" name="Object 6" hidden="1">
            <a:extLst>
              <a:ext uri="{FF2B5EF4-FFF2-40B4-BE49-F238E27FC236}">
                <a16:creationId xmlns:a16="http://schemas.microsoft.com/office/drawing/2014/main" id="{DE1EEF9B-FB56-C160-841B-4F5FFD6356AB}"/>
              </a:ext>
            </a:extLst>
          </p:cNvPr>
          <p:cNvGraphicFramePr>
            <a:graphicFrameLocks noChangeAspect="1"/>
          </p:cNvGraphicFramePr>
          <p:nvPr userDrawn="1">
            <p:custDataLst>
              <p:tags r:id="rId1"/>
            </p:custDataLst>
            <p:extLst>
              <p:ext uri="{D42A27DB-BD31-4B8C-83A1-F6EECF244321}">
                <p14:modId xmlns:p14="http://schemas.microsoft.com/office/powerpoint/2010/main" val="1566390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7" name="Object 6" hidden="1">
                        <a:extLst>
                          <a:ext uri="{FF2B5EF4-FFF2-40B4-BE49-F238E27FC236}">
                            <a16:creationId xmlns:a16="http://schemas.microsoft.com/office/drawing/2014/main" id="{5B54E934-FDE5-0234-D3D3-F671BC71E2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0015770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9" name="Rectangle 8"/>
          <p:cNvSpPr/>
          <p:nvPr/>
        </p:nvSpPr>
        <p:spPr>
          <a:xfrm>
            <a:off x="0" y="0"/>
            <a:ext cx="12192000" cy="457200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4960137"/>
            <a:ext cx="7772400" cy="1463040"/>
          </a:xfrm>
        </p:spPr>
        <p:txBody>
          <a:bodyPr anchor="ctr">
            <a:normAutofit/>
          </a:bodyPr>
          <a:lstStyle>
            <a:lvl1pPr algn="r">
              <a:defRPr sz="5000" b="0" spc="200" baseline="0"/>
            </a:lvl1pPr>
          </a:lstStyle>
          <a:p>
            <a:r>
              <a:rPr lang="en-US"/>
              <a:t>Click to edit Master title style</a:t>
            </a:r>
            <a:endParaRPr lang="en-US" dirty="0"/>
          </a:p>
        </p:txBody>
      </p:sp>
      <p:sp>
        <p:nvSpPr>
          <p:cNvPr id="3" name="Text Placeholder 2"/>
          <p:cNvSpPr>
            <a:spLocks noGrp="1"/>
          </p:cNvSpPr>
          <p:nvPr>
            <p:ph type="body" idx="1"/>
          </p:nvPr>
        </p:nvSpPr>
        <p:spPr>
          <a:xfrm>
            <a:off x="8610600" y="4960137"/>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F3FA33F-2CFE-4C4B-89A1-BD1D23843ABA}" type="datetime1">
              <a:rPr lang="en-US" smtClean="0"/>
              <a:t>11/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B09A56-2F1D-4318-9240-BF2B90CE364C}" type="slidenum">
              <a:rPr lang="en-US" smtClean="0"/>
              <a:t>‹#›</a:t>
            </a:fld>
            <a:endParaRPr lang="en-US"/>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19634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24128" y="585216"/>
            <a:ext cx="9720072" cy="1499616"/>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24127"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989320"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F12346F9-27CA-46E1-8BC9-3CE1718583F9}" type="datetime1">
              <a:rPr lang="en-US" smtClean="0"/>
              <a:t>11/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33160104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990888"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p:cNvSpPr>
            <a:spLocks noGrp="1"/>
          </p:cNvSpPr>
          <p:nvPr>
            <p:ph sz="quarter" idx="4"/>
          </p:nvPr>
        </p:nvSpPr>
        <p:spPr>
          <a:xfrm>
            <a:off x="599088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D8C3571-EFF5-4E7C-91D1-F1195BEC271B}" type="datetime1">
              <a:rPr lang="en-US" smtClean="0"/>
              <a:t>11/2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35621508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582D993-F377-4AAF-8670-6E050E3F694E}" type="datetime1">
              <a:rPr lang="en-US" smtClean="0"/>
              <a:t>11/2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5669320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F33F691-6999-434A-88D5-09942285D5CB}" type="datetime1">
              <a:rPr lang="en-US" smtClean="0"/>
              <a:t>11/2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24888275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1024128" y="471509"/>
            <a:ext cx="4389120" cy="1737360"/>
          </a:xfrm>
        </p:spPr>
        <p:txBody>
          <a:bodyPr>
            <a:noAutofit/>
          </a:bodyPr>
          <a:lstStyle>
            <a:lvl1pPr>
              <a:lnSpc>
                <a:spcPct val="80000"/>
              </a:lnSpc>
              <a:defRPr sz="4000"/>
            </a:lvl1pPr>
          </a:lstStyle>
          <a:p>
            <a:r>
              <a:rPr lang="en-US"/>
              <a:t>Click to edit Master title style</a:t>
            </a:r>
            <a:endParaRPr lang="en-US" dirty="0"/>
          </a:p>
        </p:txBody>
      </p:sp>
      <p:sp>
        <p:nvSpPr>
          <p:cNvPr id="3" name="Content Placeholder 2"/>
          <p:cNvSpPr>
            <a:spLocks noGrp="1"/>
          </p:cNvSpPr>
          <p:nvPr>
            <p:ph idx="1"/>
          </p:nvPr>
        </p:nvSpPr>
        <p:spPr>
          <a:xfrm>
            <a:off x="5715000" y="822960"/>
            <a:ext cx="5678424" cy="5184648"/>
          </a:xfrm>
        </p:spPr>
        <p:txBody>
          <a:bodyPr/>
          <a:lstStyle>
            <a:lvl1pPr>
              <a:defRPr sz="2400"/>
            </a:lvl1pPr>
            <a:lvl2pPr>
              <a:defRPr sz="20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24128" y="2257506"/>
            <a:ext cx="4389120" cy="3762294"/>
          </a:xfrm>
        </p:spPr>
        <p:txBody>
          <a:bodyPr lIns="91440" rIns="91440">
            <a:normAutofit/>
          </a:bodyPr>
          <a:lstStyle>
            <a:lvl1pPr marL="0" indent="0">
              <a:lnSpc>
                <a:spcPct val="108000"/>
              </a:lnSpc>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AA1BE52-553F-46F4-AE11-863FD67EA492}" type="datetime1">
              <a:rPr lang="en-US" smtClean="0"/>
              <a:t>11/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7765022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960138"/>
            <a:ext cx="7772400" cy="1463040"/>
          </a:xfrm>
        </p:spPr>
        <p:txBody>
          <a:bodyPr anchor="ctr">
            <a:normAutofit/>
          </a:bodyPr>
          <a:lstStyle>
            <a:lvl1pPr algn="r">
              <a:defRPr sz="5000" spc="200" baseline="0"/>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1"/>
            <a:ext cx="12188952" cy="4572000"/>
          </a:xfrm>
          <a:solidFill>
            <a:schemeClr val="accent1">
              <a:lumMod val="60000"/>
              <a:lumOff val="40000"/>
            </a:schemeClr>
          </a:solidFill>
        </p:spPr>
        <p:txBody>
          <a:bodyPr lIns="457200" tIns="365760" rIns="45720" bIns="4572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610600" y="4960138"/>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EF53246-3525-4440-8E2E-A28CFDBCA39B}" type="datetime1">
              <a:rPr lang="en-US" smtClean="0"/>
              <a:t>11/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DB09A56-2F1D-4318-9240-BF2B90CE364C}" type="slidenum">
              <a:rPr lang="en-US" smtClean="0"/>
              <a:t>‹#›</a:t>
            </a:fld>
            <a:endParaRPr lang="en-US"/>
          </a:p>
        </p:txBody>
      </p:sp>
      <p:cxnSp>
        <p:nvCxnSpPr>
          <p:cNvPr id="8" name="Straight Connector 7"/>
          <p:cNvCxnSpPr/>
          <p:nvPr/>
        </p:nvCxnSpPr>
        <p:spPr>
          <a:xfrm flipV="1">
            <a:off x="8386843" y="5264106"/>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53987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024128" y="2286000"/>
            <a:ext cx="9720073" cy="4023360"/>
          </a:xfrm>
          <a:prstGeom prst="rect">
            <a:avLst/>
          </a:prstGeom>
        </p:spPr>
        <p:txBody>
          <a:bodyPr vert="horz" lIns="45720" tIns="45720" rIns="4572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8FF0B68D-9E6A-4716-8C58-AF81FE0311F3}" type="datetimeFigureOut">
              <a:rPr lang="en-US" smtClean="0"/>
              <a:t>11/23/2023</a:t>
            </a:fld>
            <a:endParaRPr lang="en-US"/>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3DB09A56-2F1D-4318-9240-BF2B90CE364C}" type="slidenum">
              <a:rPr lang="en-US" smtClean="0"/>
              <a:pPr/>
              <a:t>‹#›</a:t>
            </a:fld>
            <a:endParaRPr lang="en-US" dirty="0"/>
          </a:p>
        </p:txBody>
      </p:sp>
      <p:cxnSp>
        <p:nvCxnSpPr>
          <p:cNvPr id="7" name="Straight Connector 6"/>
          <p:cNvCxnSpPr/>
          <p:nvPr/>
        </p:nvCxnSpPr>
        <p:spPr>
          <a:xfrm flipV="1">
            <a:off x="7620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8" name="Object 7" hidden="1">
            <a:extLst>
              <a:ext uri="{FF2B5EF4-FFF2-40B4-BE49-F238E27FC236}">
                <a16:creationId xmlns:a16="http://schemas.microsoft.com/office/drawing/2014/main" id="{21E499AC-2E26-9A04-0001-82ECE47878D2}"/>
              </a:ext>
            </a:extLst>
          </p:cNvPr>
          <p:cNvGraphicFramePr>
            <a:graphicFrameLocks noChangeAspect="1"/>
          </p:cNvGraphicFramePr>
          <p:nvPr userDrawn="1">
            <p:custDataLst>
              <p:tags r:id="rId13"/>
            </p:custDataLst>
            <p:extLst>
              <p:ext uri="{D42A27DB-BD31-4B8C-83A1-F6EECF244321}">
                <p14:modId xmlns:p14="http://schemas.microsoft.com/office/powerpoint/2010/main" val="868992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83" imgH="384" progId="TCLayout.ActiveDocument.1">
                  <p:embed/>
                </p:oleObj>
              </mc:Choice>
              <mc:Fallback>
                <p:oleObj name="think-cell Slide" r:id="rId14" imgW="383" imgH="384" progId="TCLayout.ActiveDocument.1">
                  <p:embed/>
                  <p:pic>
                    <p:nvPicPr>
                      <p:cNvPr id="9" name="Object 8" hidden="1">
                        <a:extLst>
                          <a:ext uri="{FF2B5EF4-FFF2-40B4-BE49-F238E27FC236}">
                            <a16:creationId xmlns:a16="http://schemas.microsoft.com/office/drawing/2014/main" id="{6F9D43E2-8AF7-ACC9-52C4-236A6C6D096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308270983"/>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Lst>
  <p:hf hdr="0" ftr="0" dt="0"/>
  <p:txStyles>
    <p:title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jpg"/><Relationship Id="rId7"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jpeg"/><Relationship Id="rId9" Type="http://schemas.openxmlformats.org/officeDocument/2006/relationships/image" Target="../media/image27.pn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07/relationships/hdphoto" Target="../media/hdphoto5.wdp"/></Relationships>
</file>

<file path=ppt/slides/_rels/slide12.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32.svg"/><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microsoft.com/office/2007/relationships/hdphoto" Target="../media/hdphoto3.wdp"/><Relationship Id="rId5" Type="http://schemas.openxmlformats.org/officeDocument/2006/relationships/image" Target="../media/image5.png"/><Relationship Id="rId4" Type="http://schemas.microsoft.com/office/2007/relationships/hdphoto" Target="../media/hdphoto2.wdp"/></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image" Target="../media/image10.png"/><Relationship Id="rId4" Type="http://schemas.microsoft.com/office/2007/relationships/hdphoto" Target="../media/hdphoto4.wdp"/></Relationships>
</file>

<file path=ppt/slides/_rels/slide8.xml.rels><?xml version="1.0" encoding="UTF-8" standalone="yes"?>
<Relationships xmlns="http://schemas.openxmlformats.org/package/2006/relationships"><Relationship Id="rId3" Type="http://schemas.openxmlformats.org/officeDocument/2006/relationships/image" Target="../media/image11.jpg"/><Relationship Id="rId7" Type="http://schemas.openxmlformats.org/officeDocument/2006/relationships/image" Target="../media/image15.jp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6.jpg"/><Relationship Id="rId7" Type="http://schemas.openxmlformats.org/officeDocument/2006/relationships/image" Target="../media/image19.jpe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hyperlink" Target="https://github.com/Madhusri-12it/aicte-b3-project-cs-" TargetMode="External"/><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EE48CF3-B923-6266-C758-3D65E93716CB}"/>
              </a:ext>
            </a:extLst>
          </p:cNvPr>
          <p:cNvCxnSpPr>
            <a:cxnSpLocks/>
          </p:cNvCxnSpPr>
          <p:nvPr/>
        </p:nvCxnSpPr>
        <p:spPr>
          <a:xfrm flipH="1">
            <a:off x="2351560" y="6414050"/>
            <a:ext cx="9840440"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1CBBC9ED-5C03-4D2B-FE03-492623795C97}"/>
              </a:ext>
            </a:extLst>
          </p:cNvPr>
          <p:cNvGrpSpPr/>
          <p:nvPr/>
        </p:nvGrpSpPr>
        <p:grpSpPr>
          <a:xfrm>
            <a:off x="8663940" y="3307080"/>
            <a:ext cx="3528060" cy="3550920"/>
            <a:chOff x="8663940" y="3307080"/>
            <a:chExt cx="3528060" cy="3550920"/>
          </a:xfrm>
        </p:grpSpPr>
        <p:sp>
          <p:nvSpPr>
            <p:cNvPr id="23" name="Freeform: Shape 22">
              <a:extLst>
                <a:ext uri="{FF2B5EF4-FFF2-40B4-BE49-F238E27FC236}">
                  <a16:creationId xmlns:a16="http://schemas.microsoft.com/office/drawing/2014/main" id="{BE2B9A74-B9E9-C93B-BAFC-7EEBB1C00940}"/>
                </a:ext>
              </a:extLst>
            </p:cNvPr>
            <p:cNvSpPr/>
            <p:nvPr/>
          </p:nvSpPr>
          <p:spPr>
            <a:xfrm>
              <a:off x="8663940" y="3307080"/>
              <a:ext cx="3528060" cy="3535680"/>
            </a:xfrm>
            <a:custGeom>
              <a:avLst/>
              <a:gdLst>
                <a:gd name="connsiteX0" fmla="*/ 3512820 w 3528060"/>
                <a:gd name="connsiteY0" fmla="*/ 0 h 3535680"/>
                <a:gd name="connsiteX1" fmla="*/ 3528060 w 3528060"/>
                <a:gd name="connsiteY1" fmla="*/ 386 h 3535680"/>
                <a:gd name="connsiteX2" fmla="*/ 3528060 w 3528060"/>
                <a:gd name="connsiteY2" fmla="*/ 3535680 h 3535680"/>
                <a:gd name="connsiteX3" fmla="*/ 578 w 3528060"/>
                <a:gd name="connsiteY3" fmla="*/ 3535680 h 3535680"/>
                <a:gd name="connsiteX4" fmla="*/ 0 w 3528060"/>
                <a:gd name="connsiteY4" fmla="*/ 3512820 h 3535680"/>
                <a:gd name="connsiteX5" fmla="*/ 3512820 w 3528060"/>
                <a:gd name="connsiteY5" fmla="*/ 0 h 353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8060" h="3535680">
                  <a:moveTo>
                    <a:pt x="3512820" y="0"/>
                  </a:moveTo>
                  <a:lnTo>
                    <a:pt x="3528060" y="386"/>
                  </a:lnTo>
                  <a:lnTo>
                    <a:pt x="3528060" y="3535680"/>
                  </a:lnTo>
                  <a:lnTo>
                    <a:pt x="578" y="3535680"/>
                  </a:lnTo>
                  <a:lnTo>
                    <a:pt x="0" y="3512820"/>
                  </a:lnTo>
                  <a:cubicBezTo>
                    <a:pt x="0" y="1572743"/>
                    <a:pt x="1572743" y="0"/>
                    <a:pt x="3512820" y="0"/>
                  </a:cubicBezTo>
                  <a:close/>
                </a:path>
              </a:pathLst>
            </a:custGeom>
            <a:solidFill>
              <a:srgbClr val="C0A8FE">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Freeform: Shape 21">
              <a:extLst>
                <a:ext uri="{FF2B5EF4-FFF2-40B4-BE49-F238E27FC236}">
                  <a16:creationId xmlns:a16="http://schemas.microsoft.com/office/drawing/2014/main" id="{92E8BF93-3807-18B4-78F5-6AED05F7AA99}"/>
                </a:ext>
              </a:extLst>
            </p:cNvPr>
            <p:cNvSpPr/>
            <p:nvPr/>
          </p:nvSpPr>
          <p:spPr>
            <a:xfrm>
              <a:off x="9871963" y="4506165"/>
              <a:ext cx="2320037" cy="2351835"/>
            </a:xfrm>
            <a:custGeom>
              <a:avLst/>
              <a:gdLst>
                <a:gd name="connsiteX0" fmla="*/ 2304797 w 2320037"/>
                <a:gd name="connsiteY0" fmla="*/ 0 h 2351835"/>
                <a:gd name="connsiteX1" fmla="*/ 2320037 w 2320037"/>
                <a:gd name="connsiteY1" fmla="*/ 770 h 2351835"/>
                <a:gd name="connsiteX2" fmla="*/ 2320037 w 2320037"/>
                <a:gd name="connsiteY2" fmla="*/ 2351835 h 2351835"/>
                <a:gd name="connsiteX3" fmla="*/ 2375 w 2320037"/>
                <a:gd name="connsiteY3" fmla="*/ 2351835 h 2351835"/>
                <a:gd name="connsiteX4" fmla="*/ 0 w 2320037"/>
                <a:gd name="connsiteY4" fmla="*/ 2304797 h 2351835"/>
                <a:gd name="connsiteX5" fmla="*/ 2304797 w 2320037"/>
                <a:gd name="connsiteY5" fmla="*/ 0 h 235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0037" h="2351835">
                  <a:moveTo>
                    <a:pt x="2304797" y="0"/>
                  </a:moveTo>
                  <a:lnTo>
                    <a:pt x="2320037" y="770"/>
                  </a:lnTo>
                  <a:lnTo>
                    <a:pt x="2320037" y="2351835"/>
                  </a:lnTo>
                  <a:lnTo>
                    <a:pt x="2375" y="2351835"/>
                  </a:lnTo>
                  <a:lnTo>
                    <a:pt x="0" y="2304797"/>
                  </a:lnTo>
                  <a:cubicBezTo>
                    <a:pt x="0" y="1031893"/>
                    <a:pt x="1031893" y="0"/>
                    <a:pt x="2304797" y="0"/>
                  </a:cubicBezTo>
                  <a:close/>
                </a:path>
              </a:pathLst>
            </a:custGeom>
            <a:solidFill>
              <a:srgbClr val="604A8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29" name="Group 28">
            <a:extLst>
              <a:ext uri="{FF2B5EF4-FFF2-40B4-BE49-F238E27FC236}">
                <a16:creationId xmlns:a16="http://schemas.microsoft.com/office/drawing/2014/main" id="{F9510C4F-043F-5C3C-6DFE-E5750384F0F6}"/>
              </a:ext>
            </a:extLst>
          </p:cNvPr>
          <p:cNvGrpSpPr/>
          <p:nvPr/>
        </p:nvGrpSpPr>
        <p:grpSpPr>
          <a:xfrm flipH="1" flipV="1">
            <a:off x="-112174" y="107969"/>
            <a:ext cx="3528060" cy="3550920"/>
            <a:chOff x="8663940" y="3307080"/>
            <a:chExt cx="3528060" cy="3550920"/>
          </a:xfrm>
        </p:grpSpPr>
        <p:sp>
          <p:nvSpPr>
            <p:cNvPr id="30" name="Freeform: Shape 29">
              <a:extLst>
                <a:ext uri="{FF2B5EF4-FFF2-40B4-BE49-F238E27FC236}">
                  <a16:creationId xmlns:a16="http://schemas.microsoft.com/office/drawing/2014/main" id="{D16379C3-B584-EA16-9FCD-D7AB293C68A9}"/>
                </a:ext>
              </a:extLst>
            </p:cNvPr>
            <p:cNvSpPr/>
            <p:nvPr/>
          </p:nvSpPr>
          <p:spPr>
            <a:xfrm>
              <a:off x="8663940" y="3307080"/>
              <a:ext cx="3528060" cy="3535680"/>
            </a:xfrm>
            <a:custGeom>
              <a:avLst/>
              <a:gdLst>
                <a:gd name="connsiteX0" fmla="*/ 3512820 w 3528060"/>
                <a:gd name="connsiteY0" fmla="*/ 0 h 3535680"/>
                <a:gd name="connsiteX1" fmla="*/ 3528060 w 3528060"/>
                <a:gd name="connsiteY1" fmla="*/ 386 h 3535680"/>
                <a:gd name="connsiteX2" fmla="*/ 3528060 w 3528060"/>
                <a:gd name="connsiteY2" fmla="*/ 3535680 h 3535680"/>
                <a:gd name="connsiteX3" fmla="*/ 578 w 3528060"/>
                <a:gd name="connsiteY3" fmla="*/ 3535680 h 3535680"/>
                <a:gd name="connsiteX4" fmla="*/ 0 w 3528060"/>
                <a:gd name="connsiteY4" fmla="*/ 3512820 h 3535680"/>
                <a:gd name="connsiteX5" fmla="*/ 3512820 w 3528060"/>
                <a:gd name="connsiteY5" fmla="*/ 0 h 353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8060" h="3535680">
                  <a:moveTo>
                    <a:pt x="3512820" y="0"/>
                  </a:moveTo>
                  <a:lnTo>
                    <a:pt x="3528060" y="386"/>
                  </a:lnTo>
                  <a:lnTo>
                    <a:pt x="3528060" y="3535680"/>
                  </a:lnTo>
                  <a:lnTo>
                    <a:pt x="578" y="3535680"/>
                  </a:lnTo>
                  <a:lnTo>
                    <a:pt x="0" y="3512820"/>
                  </a:lnTo>
                  <a:cubicBezTo>
                    <a:pt x="0" y="1572743"/>
                    <a:pt x="1572743" y="0"/>
                    <a:pt x="3512820" y="0"/>
                  </a:cubicBezTo>
                  <a:close/>
                </a:path>
              </a:pathLst>
            </a:custGeom>
            <a:solidFill>
              <a:srgbClr val="C0A8FE">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Freeform: Shape 31">
              <a:extLst>
                <a:ext uri="{FF2B5EF4-FFF2-40B4-BE49-F238E27FC236}">
                  <a16:creationId xmlns:a16="http://schemas.microsoft.com/office/drawing/2014/main" id="{C2ED135A-5399-2027-0132-95DDB9DAF77D}"/>
                </a:ext>
              </a:extLst>
            </p:cNvPr>
            <p:cNvSpPr/>
            <p:nvPr/>
          </p:nvSpPr>
          <p:spPr>
            <a:xfrm>
              <a:off x="9871963" y="4506165"/>
              <a:ext cx="2320037" cy="2351835"/>
            </a:xfrm>
            <a:custGeom>
              <a:avLst/>
              <a:gdLst>
                <a:gd name="connsiteX0" fmla="*/ 2304797 w 2320037"/>
                <a:gd name="connsiteY0" fmla="*/ 0 h 2351835"/>
                <a:gd name="connsiteX1" fmla="*/ 2320037 w 2320037"/>
                <a:gd name="connsiteY1" fmla="*/ 770 h 2351835"/>
                <a:gd name="connsiteX2" fmla="*/ 2320037 w 2320037"/>
                <a:gd name="connsiteY2" fmla="*/ 2351835 h 2351835"/>
                <a:gd name="connsiteX3" fmla="*/ 2375 w 2320037"/>
                <a:gd name="connsiteY3" fmla="*/ 2351835 h 2351835"/>
                <a:gd name="connsiteX4" fmla="*/ 0 w 2320037"/>
                <a:gd name="connsiteY4" fmla="*/ 2304797 h 2351835"/>
                <a:gd name="connsiteX5" fmla="*/ 2304797 w 2320037"/>
                <a:gd name="connsiteY5" fmla="*/ 0 h 235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0037" h="2351835">
                  <a:moveTo>
                    <a:pt x="2304797" y="0"/>
                  </a:moveTo>
                  <a:lnTo>
                    <a:pt x="2320037" y="770"/>
                  </a:lnTo>
                  <a:lnTo>
                    <a:pt x="2320037" y="2351835"/>
                  </a:lnTo>
                  <a:lnTo>
                    <a:pt x="2375" y="2351835"/>
                  </a:lnTo>
                  <a:lnTo>
                    <a:pt x="0" y="2304797"/>
                  </a:lnTo>
                  <a:cubicBezTo>
                    <a:pt x="0" y="1031893"/>
                    <a:pt x="1031893" y="0"/>
                    <a:pt x="2304797" y="0"/>
                  </a:cubicBezTo>
                  <a:close/>
                </a:path>
              </a:pathLst>
            </a:custGeom>
            <a:solidFill>
              <a:srgbClr val="604A8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33" name="Arc 32">
            <a:extLst>
              <a:ext uri="{FF2B5EF4-FFF2-40B4-BE49-F238E27FC236}">
                <a16:creationId xmlns:a16="http://schemas.microsoft.com/office/drawing/2014/main" id="{CF55EB21-1608-F0DA-A9D5-7AD9681A95A4}"/>
              </a:ext>
            </a:extLst>
          </p:cNvPr>
          <p:cNvSpPr/>
          <p:nvPr/>
        </p:nvSpPr>
        <p:spPr>
          <a:xfrm>
            <a:off x="9311640" y="3947160"/>
            <a:ext cx="5760720" cy="5760720"/>
          </a:xfrm>
          <a:prstGeom prst="arc">
            <a:avLst>
              <a:gd name="adj1" fmla="val 10816662"/>
              <a:gd name="adj2" fmla="val 16117489"/>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Arc 37">
            <a:extLst>
              <a:ext uri="{FF2B5EF4-FFF2-40B4-BE49-F238E27FC236}">
                <a16:creationId xmlns:a16="http://schemas.microsoft.com/office/drawing/2014/main" id="{BD05BC0B-FFA1-BA74-4689-9E2DBC3ACB11}"/>
              </a:ext>
            </a:extLst>
          </p:cNvPr>
          <p:cNvSpPr/>
          <p:nvPr/>
        </p:nvSpPr>
        <p:spPr>
          <a:xfrm flipH="1" flipV="1">
            <a:off x="-2910840" y="-2849880"/>
            <a:ext cx="5760720" cy="5760720"/>
          </a:xfrm>
          <a:prstGeom prst="arc">
            <a:avLst>
              <a:gd name="adj1" fmla="val 10816662"/>
              <a:gd name="adj2" fmla="val 16117489"/>
            </a:avLst>
          </a:prstGeom>
          <a:ln w="12700">
            <a:solidFill>
              <a:schemeClr val="bg1"/>
            </a:solidFill>
            <a:prstDash val="lgDashDot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Oval 38">
            <a:extLst>
              <a:ext uri="{FF2B5EF4-FFF2-40B4-BE49-F238E27FC236}">
                <a16:creationId xmlns:a16="http://schemas.microsoft.com/office/drawing/2014/main" id="{9BA834BD-8F64-0495-2667-D3FE4599EB40}"/>
              </a:ext>
            </a:extLst>
          </p:cNvPr>
          <p:cNvSpPr/>
          <p:nvPr/>
        </p:nvSpPr>
        <p:spPr>
          <a:xfrm>
            <a:off x="2880360" y="1127760"/>
            <a:ext cx="701040" cy="701040"/>
          </a:xfrm>
          <a:prstGeom prst="ellipse">
            <a:avLst/>
          </a:prstGeom>
          <a:solidFill>
            <a:srgbClr val="C0A8F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407CCC7D-743E-D237-19E0-B7D7B3635A6E}"/>
              </a:ext>
            </a:extLst>
          </p:cNvPr>
          <p:cNvSpPr/>
          <p:nvPr/>
        </p:nvSpPr>
        <p:spPr>
          <a:xfrm>
            <a:off x="8397240" y="5867400"/>
            <a:ext cx="701040" cy="701040"/>
          </a:xfrm>
          <a:prstGeom prst="ellipse">
            <a:avLst/>
          </a:prstGeom>
          <a:solidFill>
            <a:srgbClr val="C0A8F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Rounded Corners 40">
            <a:extLst>
              <a:ext uri="{FF2B5EF4-FFF2-40B4-BE49-F238E27FC236}">
                <a16:creationId xmlns:a16="http://schemas.microsoft.com/office/drawing/2014/main" id="{F0C288AF-85F9-BB45-4495-C9085112B8FB}"/>
              </a:ext>
            </a:extLst>
          </p:cNvPr>
          <p:cNvSpPr/>
          <p:nvPr/>
        </p:nvSpPr>
        <p:spPr>
          <a:xfrm rot="3005918">
            <a:off x="249885"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Rounded Corners 41">
            <a:extLst>
              <a:ext uri="{FF2B5EF4-FFF2-40B4-BE49-F238E27FC236}">
                <a16:creationId xmlns:a16="http://schemas.microsoft.com/office/drawing/2014/main" id="{FD79E12E-FC93-9EEB-770C-FE8945A9E859}"/>
              </a:ext>
            </a:extLst>
          </p:cNvPr>
          <p:cNvSpPr/>
          <p:nvPr/>
        </p:nvSpPr>
        <p:spPr>
          <a:xfrm rot="3005918">
            <a:off x="524628"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Rounded Corners 42">
            <a:extLst>
              <a:ext uri="{FF2B5EF4-FFF2-40B4-BE49-F238E27FC236}">
                <a16:creationId xmlns:a16="http://schemas.microsoft.com/office/drawing/2014/main" id="{479CF5E0-932A-5954-B0EC-1982B92A28A1}"/>
              </a:ext>
            </a:extLst>
          </p:cNvPr>
          <p:cNvSpPr/>
          <p:nvPr/>
        </p:nvSpPr>
        <p:spPr>
          <a:xfrm rot="3005918">
            <a:off x="799371"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Rounded Corners 43">
            <a:extLst>
              <a:ext uri="{FF2B5EF4-FFF2-40B4-BE49-F238E27FC236}">
                <a16:creationId xmlns:a16="http://schemas.microsoft.com/office/drawing/2014/main" id="{DA3CEBD5-ABD8-A866-362E-6646CD4AA2AD}"/>
              </a:ext>
            </a:extLst>
          </p:cNvPr>
          <p:cNvSpPr/>
          <p:nvPr/>
        </p:nvSpPr>
        <p:spPr>
          <a:xfrm rot="3005918">
            <a:off x="1074114"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Rounded Corners 44">
            <a:extLst>
              <a:ext uri="{FF2B5EF4-FFF2-40B4-BE49-F238E27FC236}">
                <a16:creationId xmlns:a16="http://schemas.microsoft.com/office/drawing/2014/main" id="{4723CAE6-171B-CD13-48A1-10122EB966D6}"/>
              </a:ext>
            </a:extLst>
          </p:cNvPr>
          <p:cNvSpPr/>
          <p:nvPr/>
        </p:nvSpPr>
        <p:spPr>
          <a:xfrm rot="3005918">
            <a:off x="1348857"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2AE35B68-AEB2-FDD3-A78E-1F42B5ED48BF}"/>
              </a:ext>
            </a:extLst>
          </p:cNvPr>
          <p:cNvSpPr/>
          <p:nvPr/>
        </p:nvSpPr>
        <p:spPr>
          <a:xfrm rot="3005918">
            <a:off x="1623600"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Rounded Corners 46">
            <a:extLst>
              <a:ext uri="{FF2B5EF4-FFF2-40B4-BE49-F238E27FC236}">
                <a16:creationId xmlns:a16="http://schemas.microsoft.com/office/drawing/2014/main" id="{834CAF69-DAE9-E3D3-CCF0-E52166884F8F}"/>
              </a:ext>
            </a:extLst>
          </p:cNvPr>
          <p:cNvSpPr/>
          <p:nvPr/>
        </p:nvSpPr>
        <p:spPr>
          <a:xfrm rot="3005918">
            <a:off x="1898345"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Rounded Corners 48">
            <a:extLst>
              <a:ext uri="{FF2B5EF4-FFF2-40B4-BE49-F238E27FC236}">
                <a16:creationId xmlns:a16="http://schemas.microsoft.com/office/drawing/2014/main" id="{662CB5BC-DF36-73CB-377C-991133920C01}"/>
              </a:ext>
            </a:extLst>
          </p:cNvPr>
          <p:cNvSpPr/>
          <p:nvPr/>
        </p:nvSpPr>
        <p:spPr>
          <a:xfrm rot="3005918">
            <a:off x="249886"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Rounded Corners 49">
            <a:extLst>
              <a:ext uri="{FF2B5EF4-FFF2-40B4-BE49-F238E27FC236}">
                <a16:creationId xmlns:a16="http://schemas.microsoft.com/office/drawing/2014/main" id="{A6B6C69F-9B01-5741-6131-3A462355AAD4}"/>
              </a:ext>
            </a:extLst>
          </p:cNvPr>
          <p:cNvSpPr/>
          <p:nvPr/>
        </p:nvSpPr>
        <p:spPr>
          <a:xfrm rot="3005918">
            <a:off x="524629"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Rounded Corners 50">
            <a:extLst>
              <a:ext uri="{FF2B5EF4-FFF2-40B4-BE49-F238E27FC236}">
                <a16:creationId xmlns:a16="http://schemas.microsoft.com/office/drawing/2014/main" id="{D4660FF3-46A4-224F-A8E0-8B2013CCAE0B}"/>
              </a:ext>
            </a:extLst>
          </p:cNvPr>
          <p:cNvSpPr/>
          <p:nvPr/>
        </p:nvSpPr>
        <p:spPr>
          <a:xfrm rot="3005918">
            <a:off x="799372"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Rounded Corners 51">
            <a:extLst>
              <a:ext uri="{FF2B5EF4-FFF2-40B4-BE49-F238E27FC236}">
                <a16:creationId xmlns:a16="http://schemas.microsoft.com/office/drawing/2014/main" id="{781085D8-BCEF-854B-F001-5CB3CE1E6BE2}"/>
              </a:ext>
            </a:extLst>
          </p:cNvPr>
          <p:cNvSpPr/>
          <p:nvPr/>
        </p:nvSpPr>
        <p:spPr>
          <a:xfrm rot="3005918">
            <a:off x="1074115"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Rounded Corners 52">
            <a:extLst>
              <a:ext uri="{FF2B5EF4-FFF2-40B4-BE49-F238E27FC236}">
                <a16:creationId xmlns:a16="http://schemas.microsoft.com/office/drawing/2014/main" id="{EF06AF8D-E1CA-46AF-7FA4-8BB5B9DB060B}"/>
              </a:ext>
            </a:extLst>
          </p:cNvPr>
          <p:cNvSpPr/>
          <p:nvPr/>
        </p:nvSpPr>
        <p:spPr>
          <a:xfrm rot="3005918">
            <a:off x="1348858"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Rounded Corners 53">
            <a:extLst>
              <a:ext uri="{FF2B5EF4-FFF2-40B4-BE49-F238E27FC236}">
                <a16:creationId xmlns:a16="http://schemas.microsoft.com/office/drawing/2014/main" id="{94B9EE4E-BA38-2D4C-D72A-E41BE8C273D6}"/>
              </a:ext>
            </a:extLst>
          </p:cNvPr>
          <p:cNvSpPr/>
          <p:nvPr/>
        </p:nvSpPr>
        <p:spPr>
          <a:xfrm rot="3005918">
            <a:off x="1623601"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Rounded Corners 54">
            <a:extLst>
              <a:ext uri="{FF2B5EF4-FFF2-40B4-BE49-F238E27FC236}">
                <a16:creationId xmlns:a16="http://schemas.microsoft.com/office/drawing/2014/main" id="{8D54B282-4909-FF7B-8F7D-2AD7A5DD6C92}"/>
              </a:ext>
            </a:extLst>
          </p:cNvPr>
          <p:cNvSpPr/>
          <p:nvPr/>
        </p:nvSpPr>
        <p:spPr>
          <a:xfrm rot="3005918">
            <a:off x="1898346"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 name="Straight Connector 56">
            <a:extLst>
              <a:ext uri="{FF2B5EF4-FFF2-40B4-BE49-F238E27FC236}">
                <a16:creationId xmlns:a16="http://schemas.microsoft.com/office/drawing/2014/main" id="{6B4B16BA-BDC0-E032-547E-907F45544BEE}"/>
              </a:ext>
            </a:extLst>
          </p:cNvPr>
          <p:cNvCxnSpPr/>
          <p:nvPr/>
        </p:nvCxnSpPr>
        <p:spPr>
          <a:xfrm>
            <a:off x="3581400" y="1127760"/>
            <a:ext cx="7261185" cy="0"/>
          </a:xfrm>
          <a:prstGeom prst="line">
            <a:avLst/>
          </a:prstGeom>
          <a:ln w="9525">
            <a:solidFill>
              <a:srgbClr val="C0A8FE">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E7FD48FE-AB6D-EE49-0BA5-958EE822A9F5}"/>
              </a:ext>
            </a:extLst>
          </p:cNvPr>
          <p:cNvSpPr/>
          <p:nvPr/>
        </p:nvSpPr>
        <p:spPr>
          <a:xfrm>
            <a:off x="11285316" y="3877520"/>
            <a:ext cx="324091" cy="324091"/>
          </a:xfrm>
          <a:prstGeom prst="ellipse">
            <a:avLst/>
          </a:prstGeom>
          <a:solidFill>
            <a:srgbClr val="C0A8FE">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Arc 73">
            <a:extLst>
              <a:ext uri="{FF2B5EF4-FFF2-40B4-BE49-F238E27FC236}">
                <a16:creationId xmlns:a16="http://schemas.microsoft.com/office/drawing/2014/main" id="{DBAD3F72-878F-A47B-E698-CF350A63D9EF}"/>
              </a:ext>
            </a:extLst>
          </p:cNvPr>
          <p:cNvSpPr/>
          <p:nvPr/>
        </p:nvSpPr>
        <p:spPr>
          <a:xfrm>
            <a:off x="10546080" y="1173480"/>
            <a:ext cx="350520" cy="350520"/>
          </a:xfrm>
          <a:prstGeom prst="arc">
            <a:avLst>
              <a:gd name="adj1" fmla="val 16200000"/>
              <a:gd name="adj2" fmla="val 13630485"/>
            </a:avLst>
          </a:prstGeom>
          <a:ln>
            <a:solidFill>
              <a:srgbClr val="C0A8F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5" name="Arc 74">
            <a:extLst>
              <a:ext uri="{FF2B5EF4-FFF2-40B4-BE49-F238E27FC236}">
                <a16:creationId xmlns:a16="http://schemas.microsoft.com/office/drawing/2014/main" id="{6683A935-91CA-1F61-1D36-7FC92F51CD6C}"/>
              </a:ext>
            </a:extLst>
          </p:cNvPr>
          <p:cNvSpPr/>
          <p:nvPr/>
        </p:nvSpPr>
        <p:spPr>
          <a:xfrm>
            <a:off x="2453640" y="6172200"/>
            <a:ext cx="350520" cy="350520"/>
          </a:xfrm>
          <a:prstGeom prst="arc">
            <a:avLst>
              <a:gd name="adj1" fmla="val 16200000"/>
              <a:gd name="adj2" fmla="val 13630485"/>
            </a:avLst>
          </a:prstGeom>
          <a:ln>
            <a:solidFill>
              <a:srgbClr val="C0A8F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6" name="Rectangle: Top Corners Rounded 75">
            <a:extLst>
              <a:ext uri="{FF2B5EF4-FFF2-40B4-BE49-F238E27FC236}">
                <a16:creationId xmlns:a16="http://schemas.microsoft.com/office/drawing/2014/main" id="{EE289360-B642-133F-1360-844DDBB11FB0}"/>
              </a:ext>
            </a:extLst>
          </p:cNvPr>
          <p:cNvSpPr/>
          <p:nvPr/>
        </p:nvSpPr>
        <p:spPr>
          <a:xfrm rot="16200000" flipH="1">
            <a:off x="10529008" y="-991276"/>
            <a:ext cx="320040" cy="3005945"/>
          </a:xfrm>
          <a:prstGeom prst="round2SameRect">
            <a:avLst>
              <a:gd name="adj1" fmla="val 50000"/>
              <a:gd name="adj2" fmla="val 0"/>
            </a:avLst>
          </a:prstGeom>
          <a:solidFill>
            <a:srgbClr val="C0A8FE">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Circle: Hollow 5">
            <a:extLst>
              <a:ext uri="{FF2B5EF4-FFF2-40B4-BE49-F238E27FC236}">
                <a16:creationId xmlns:a16="http://schemas.microsoft.com/office/drawing/2014/main" id="{A49F225D-7AE9-B122-4E5C-1CAC778CAC3E}"/>
              </a:ext>
            </a:extLst>
          </p:cNvPr>
          <p:cNvSpPr/>
          <p:nvPr/>
        </p:nvSpPr>
        <p:spPr>
          <a:xfrm>
            <a:off x="-78391" y="713686"/>
            <a:ext cx="4053132" cy="3888346"/>
          </a:xfrm>
          <a:prstGeom prst="donu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dirty="0">
              <a:solidFill>
                <a:schemeClr val="tx1"/>
              </a:solidFill>
            </a:endParaRPr>
          </a:p>
        </p:txBody>
      </p:sp>
      <p:pic>
        <p:nvPicPr>
          <p:cNvPr id="8" name="Picture 7">
            <a:extLst>
              <a:ext uri="{FF2B5EF4-FFF2-40B4-BE49-F238E27FC236}">
                <a16:creationId xmlns:a16="http://schemas.microsoft.com/office/drawing/2014/main" id="{420E64D1-7597-016F-E008-1F98CC0258C7}"/>
              </a:ext>
            </a:extLst>
          </p:cNvPr>
          <p:cNvPicPr>
            <a:picLocks noChangeAspect="1"/>
          </p:cNvPicPr>
          <p:nvPr/>
        </p:nvPicPr>
        <p:blipFill>
          <a:blip r:embed="rId3">
            <a:alphaModFix/>
            <a:extLst>
              <a:ext uri="{BEBA8EAE-BF5A-486C-A8C5-ECC9F3942E4B}">
                <a14:imgProps xmlns:a14="http://schemas.microsoft.com/office/drawing/2010/main">
                  <a14:imgLayer r:embed="rId4">
                    <a14:imgEffect>
                      <a14:sharpenSoften amount="80000"/>
                    </a14:imgEffect>
                    <a14:imgEffect>
                      <a14:brightnessContrast bright="-16000" contrast="7000"/>
                    </a14:imgEffect>
                  </a14:imgLayer>
                </a14:imgProps>
              </a:ext>
            </a:extLst>
          </a:blip>
          <a:stretch>
            <a:fillRect/>
          </a:stretch>
        </p:blipFill>
        <p:spPr>
          <a:xfrm>
            <a:off x="509233" y="1241099"/>
            <a:ext cx="2877884" cy="2900779"/>
          </a:xfrm>
          <a:prstGeom prst="ellipse">
            <a:avLst/>
          </a:prstGeom>
          <a:ln w="63500" cap="rnd">
            <a:noFill/>
          </a:ln>
          <a:effectLst>
            <a:glow rad="63500">
              <a:schemeClr val="accent2">
                <a:satMod val="175000"/>
                <a:alpha val="40000"/>
              </a:schemeClr>
            </a:glow>
            <a:innerShdw blurRad="63500" dist="50800" dir="16200000">
              <a:prstClr val="black">
                <a:alpha val="50000"/>
              </a:prstClr>
            </a:innerShdw>
          </a:effectLst>
          <a:scene3d>
            <a:camera prst="orthographicFront"/>
            <a:lightRig rig="contrasting" dir="t">
              <a:rot lat="0" lon="0" rev="3000000"/>
            </a:lightRig>
          </a:scene3d>
          <a:sp3d contourW="7620">
            <a:bevelT w="95250" h="31750"/>
            <a:contourClr>
              <a:srgbClr val="333333"/>
            </a:contourClr>
          </a:sp3d>
        </p:spPr>
      </p:pic>
      <p:sp>
        <p:nvSpPr>
          <p:cNvPr id="11" name="TextBox 10">
            <a:extLst>
              <a:ext uri="{FF2B5EF4-FFF2-40B4-BE49-F238E27FC236}">
                <a16:creationId xmlns:a16="http://schemas.microsoft.com/office/drawing/2014/main" id="{776C549E-6FE8-0BE3-D9B7-D910EAC5E8C0}"/>
              </a:ext>
            </a:extLst>
          </p:cNvPr>
          <p:cNvSpPr txBox="1"/>
          <p:nvPr/>
        </p:nvSpPr>
        <p:spPr>
          <a:xfrm>
            <a:off x="4325261" y="1633215"/>
            <a:ext cx="7593552" cy="5539978"/>
          </a:xfrm>
          <a:prstGeom prst="rect">
            <a:avLst/>
          </a:prstGeom>
          <a:noFill/>
        </p:spPr>
        <p:txBody>
          <a:bodyPr wrap="square" rtlCol="0">
            <a:spAutoFit/>
          </a:bodyPr>
          <a:lstStyle/>
          <a:p>
            <a:r>
              <a:rPr lang="en-US" sz="2400" dirty="0">
                <a:latin typeface="Berlin Sans FB" panose="020E0602020502020306" pitchFamily="34" charset="0"/>
              </a:rPr>
              <a:t>Name :  </a:t>
            </a:r>
            <a:r>
              <a:rPr lang="en-US" sz="2400" dirty="0" err="1">
                <a:solidFill>
                  <a:srgbClr val="290717"/>
                </a:solidFill>
                <a:latin typeface="Berlin Sans FB" panose="020E0602020502020306" pitchFamily="34" charset="0"/>
              </a:rPr>
              <a:t>Madhusri</a:t>
            </a:r>
            <a:r>
              <a:rPr lang="en-US" sz="2400" dirty="0">
                <a:solidFill>
                  <a:srgbClr val="290717"/>
                </a:solidFill>
                <a:latin typeface="Berlin Sans FB" panose="020E0602020502020306" pitchFamily="34" charset="0"/>
              </a:rPr>
              <a:t> </a:t>
            </a:r>
            <a:r>
              <a:rPr lang="en-US" sz="2400" dirty="0" err="1">
                <a:solidFill>
                  <a:srgbClr val="290717"/>
                </a:solidFill>
                <a:latin typeface="Berlin Sans FB" panose="020E0602020502020306" pitchFamily="34" charset="0"/>
              </a:rPr>
              <a:t>Chodav</a:t>
            </a:r>
            <a:r>
              <a:rPr lang="en-US" sz="2400" u="sng" dirty="0" err="1">
                <a:solidFill>
                  <a:srgbClr val="290717"/>
                </a:solidFill>
                <a:latin typeface="Berlin Sans FB" panose="020E0602020502020306" pitchFamily="34" charset="0"/>
              </a:rPr>
              <a:t>ar</a:t>
            </a:r>
            <a:r>
              <a:rPr lang="en-US" sz="2400" dirty="0" err="1">
                <a:solidFill>
                  <a:srgbClr val="290717"/>
                </a:solidFill>
                <a:latin typeface="Berlin Sans FB" panose="020E0602020502020306" pitchFamily="34" charset="0"/>
              </a:rPr>
              <a:t>apu</a:t>
            </a:r>
            <a:endParaRPr lang="en-US" sz="2400" dirty="0">
              <a:solidFill>
                <a:srgbClr val="290717"/>
              </a:solidFill>
              <a:latin typeface="Berlin Sans FB" panose="020E0602020502020306" pitchFamily="34" charset="0"/>
            </a:endParaRPr>
          </a:p>
          <a:p>
            <a:r>
              <a:rPr lang="en-US" sz="2400" dirty="0">
                <a:latin typeface="Berlin Sans FB" panose="020E0602020502020306" pitchFamily="34" charset="0"/>
              </a:rPr>
              <a:t> </a:t>
            </a:r>
          </a:p>
          <a:p>
            <a:r>
              <a:rPr lang="en-US" sz="2400" dirty="0">
                <a:latin typeface="Berlin Sans FB" panose="020E0602020502020306" pitchFamily="34" charset="0"/>
              </a:rPr>
              <a:t>Skills Build Email ID: </a:t>
            </a:r>
            <a:r>
              <a:rPr lang="en-US" sz="2400" dirty="0">
                <a:solidFill>
                  <a:srgbClr val="290717"/>
                </a:solidFill>
                <a:latin typeface="Berlin Sans FB" panose="020E0602020502020306" pitchFamily="34" charset="0"/>
              </a:rPr>
              <a:t>chmadhusri455@gmail.com</a:t>
            </a:r>
          </a:p>
          <a:p>
            <a:endParaRPr lang="en-US" sz="2400" dirty="0">
              <a:latin typeface="Berlin Sans FB" panose="020E0602020502020306" pitchFamily="34" charset="0"/>
            </a:endParaRPr>
          </a:p>
          <a:p>
            <a:r>
              <a:rPr lang="en-US" sz="2400" dirty="0">
                <a:latin typeface="Berlin Sans FB" panose="020E0602020502020306" pitchFamily="34" charset="0"/>
              </a:rPr>
              <a:t>College Name: </a:t>
            </a:r>
            <a:r>
              <a:rPr lang="en-US" sz="2400" dirty="0">
                <a:solidFill>
                  <a:srgbClr val="290717"/>
                </a:solidFill>
                <a:latin typeface="Berlin Sans FB" panose="020E0602020502020306" pitchFamily="34" charset="0"/>
              </a:rPr>
              <a:t>ACE Engineering College, </a:t>
            </a:r>
            <a:r>
              <a:rPr lang="en-US" sz="2400" dirty="0" err="1">
                <a:solidFill>
                  <a:srgbClr val="290717"/>
                </a:solidFill>
                <a:latin typeface="Berlin Sans FB" panose="020E0602020502020306" pitchFamily="34" charset="0"/>
              </a:rPr>
              <a:t>Ghatkesar</a:t>
            </a:r>
            <a:endParaRPr lang="en-US" sz="2400" dirty="0">
              <a:solidFill>
                <a:srgbClr val="290717"/>
              </a:solidFill>
              <a:latin typeface="Berlin Sans FB" panose="020E0602020502020306" pitchFamily="34" charset="0"/>
            </a:endParaRPr>
          </a:p>
          <a:p>
            <a:endParaRPr lang="en-US" sz="2400" dirty="0">
              <a:latin typeface="Berlin Sans FB" panose="020E0602020502020306" pitchFamily="34" charset="0"/>
            </a:endParaRPr>
          </a:p>
          <a:p>
            <a:r>
              <a:rPr lang="en-US" sz="2400" dirty="0">
                <a:latin typeface="Berlin Sans FB" panose="020E0602020502020306" pitchFamily="34" charset="0"/>
              </a:rPr>
              <a:t>College State: </a:t>
            </a:r>
            <a:r>
              <a:rPr lang="en-US" sz="2400" dirty="0">
                <a:solidFill>
                  <a:srgbClr val="290717"/>
                </a:solidFill>
                <a:latin typeface="Berlin Sans FB" panose="020E0602020502020306" pitchFamily="34" charset="0"/>
              </a:rPr>
              <a:t>Telangana</a:t>
            </a:r>
          </a:p>
          <a:p>
            <a:endParaRPr lang="en-US" sz="2400" dirty="0">
              <a:latin typeface="Berlin Sans FB" panose="020E0602020502020306" pitchFamily="34" charset="0"/>
            </a:endParaRPr>
          </a:p>
          <a:p>
            <a:r>
              <a:rPr lang="en-US" sz="2400" dirty="0">
                <a:latin typeface="Berlin Sans FB" panose="020E0602020502020306" pitchFamily="34" charset="0"/>
              </a:rPr>
              <a:t>Internship Domain: </a:t>
            </a:r>
            <a:r>
              <a:rPr lang="en-US" sz="2400" dirty="0">
                <a:solidFill>
                  <a:srgbClr val="290717"/>
                </a:solidFill>
                <a:latin typeface="Berlin Sans FB" panose="020E0602020502020306" pitchFamily="34" charset="0"/>
              </a:rPr>
              <a:t>Cyber Security</a:t>
            </a:r>
          </a:p>
          <a:p>
            <a:endParaRPr lang="en-US" sz="2400" dirty="0">
              <a:latin typeface="Berlin Sans FB" panose="020E0602020502020306" pitchFamily="34" charset="0"/>
            </a:endParaRPr>
          </a:p>
          <a:p>
            <a:r>
              <a:rPr lang="en-US" sz="2400" dirty="0">
                <a:latin typeface="Berlin Sans FB" panose="020E0602020502020306" pitchFamily="34" charset="0"/>
              </a:rPr>
              <a:t>Internship Start and End Dates</a:t>
            </a:r>
            <a:r>
              <a:rPr lang="en-US" sz="2400" dirty="0">
                <a:solidFill>
                  <a:srgbClr val="290717"/>
                </a:solidFill>
                <a:latin typeface="Berlin Sans FB" panose="020E0602020502020306" pitchFamily="34" charset="0"/>
              </a:rPr>
              <a:t>:  13-10-2023 to 26-11-2023</a:t>
            </a:r>
          </a:p>
          <a:p>
            <a:endParaRPr lang="en-US" sz="2400" dirty="0">
              <a:latin typeface="Berlin Sans FB" panose="020E0602020502020306" pitchFamily="34" charset="0"/>
            </a:endParaRPr>
          </a:p>
          <a:p>
            <a:endParaRPr lang="en-US" sz="2400" dirty="0"/>
          </a:p>
          <a:p>
            <a:endParaRPr lang="en-US" sz="2400" dirty="0"/>
          </a:p>
          <a:p>
            <a:endParaRPr lang="en-US" dirty="0"/>
          </a:p>
        </p:txBody>
      </p:sp>
      <p:sp>
        <p:nvSpPr>
          <p:cNvPr id="12" name="TextBox 11">
            <a:extLst>
              <a:ext uri="{FF2B5EF4-FFF2-40B4-BE49-F238E27FC236}">
                <a16:creationId xmlns:a16="http://schemas.microsoft.com/office/drawing/2014/main" id="{87896837-8216-8E1E-5BF8-D5EE9E3B0F95}"/>
              </a:ext>
            </a:extLst>
          </p:cNvPr>
          <p:cNvSpPr txBox="1"/>
          <p:nvPr/>
        </p:nvSpPr>
        <p:spPr>
          <a:xfrm>
            <a:off x="4325261" y="542794"/>
            <a:ext cx="6220819" cy="646331"/>
          </a:xfrm>
          <a:prstGeom prst="rect">
            <a:avLst/>
          </a:prstGeom>
          <a:noFill/>
        </p:spPr>
        <p:txBody>
          <a:bodyPr wrap="square" rtlCol="0">
            <a:spAutoFit/>
          </a:bodyPr>
          <a:lstStyle/>
          <a:p>
            <a:r>
              <a:rPr lang="en-US" sz="3600" dirty="0">
                <a:solidFill>
                  <a:srgbClr val="7030A0"/>
                </a:solidFill>
                <a:latin typeface="Bernard MT Condensed" panose="02050806060905020404" pitchFamily="18" charset="0"/>
              </a:rPr>
              <a:t>DETAILS  :</a:t>
            </a:r>
          </a:p>
        </p:txBody>
      </p:sp>
    </p:spTree>
    <p:extLst>
      <p:ext uri="{BB962C8B-B14F-4D97-AF65-F5344CB8AC3E}">
        <p14:creationId xmlns:p14="http://schemas.microsoft.com/office/powerpoint/2010/main" val="1091291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additive="base">
                                        <p:cTn id="12" dur="500" fill="hold"/>
                                        <p:tgtEl>
                                          <p:spTgt spid="11"/>
                                        </p:tgtEl>
                                        <p:attrNameLst>
                                          <p:attrName>ppt_x</p:attrName>
                                        </p:attrNameLst>
                                      </p:cBhvr>
                                      <p:tavLst>
                                        <p:tav tm="0">
                                          <p:val>
                                            <p:strVal val="#ppt_x"/>
                                          </p:val>
                                        </p:tav>
                                        <p:tav tm="100000">
                                          <p:val>
                                            <p:strVal val="#ppt_x"/>
                                          </p:val>
                                        </p:tav>
                                      </p:tavLst>
                                    </p:anim>
                                    <p:anim calcmode="lin" valueType="num">
                                      <p:cBhvr additive="base">
                                        <p:cTn id="13"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417E8A86-3EEE-90CF-7C22-0E5543578EA0}"/>
              </a:ext>
            </a:extLst>
          </p:cNvPr>
          <p:cNvPicPr>
            <a:picLocks noChangeAspect="1"/>
          </p:cNvPicPr>
          <p:nvPr/>
        </p:nvPicPr>
        <p:blipFill rotWithShape="1">
          <a:blip r:embed="rId3">
            <a:extLst>
              <a:ext uri="{28A0092B-C50C-407E-A947-70E740481C1C}">
                <a14:useLocalDpi xmlns:a14="http://schemas.microsoft.com/office/drawing/2010/main" val="0"/>
              </a:ext>
            </a:extLst>
          </a:blip>
          <a:srcRect l="2892" t="4539" r="2890" b="4255"/>
          <a:stretch/>
        </p:blipFill>
        <p:spPr>
          <a:xfrm>
            <a:off x="4764" y="0"/>
            <a:ext cx="12182472" cy="6857997"/>
          </a:xfrm>
          <a:prstGeom prst="rect">
            <a:avLst/>
          </a:prstGeom>
        </p:spPr>
      </p:pic>
      <p:pic>
        <p:nvPicPr>
          <p:cNvPr id="6" name="Picture 5" descr="A computer on a table&#10;&#10;Description automatically generated with low confidence">
            <a:extLst>
              <a:ext uri="{FF2B5EF4-FFF2-40B4-BE49-F238E27FC236}">
                <a16:creationId xmlns:a16="http://schemas.microsoft.com/office/drawing/2014/main" id="{31F8F0AD-A634-0DB5-B50B-F434987B7D7E}"/>
              </a:ext>
            </a:extLst>
          </p:cNvPr>
          <p:cNvPicPr>
            <a:picLocks noChangeAspect="1"/>
          </p:cNvPicPr>
          <p:nvPr/>
        </p:nvPicPr>
        <p:blipFill>
          <a:blip r:embed="rId4">
            <a:alphaModFix amt="50000"/>
            <a:duotone>
              <a:prstClr val="black"/>
              <a:schemeClr val="tx2">
                <a:tint val="45000"/>
                <a:satMod val="400000"/>
              </a:schemeClr>
            </a:duotone>
            <a:extLst>
              <a:ext uri="{28A0092B-C50C-407E-A947-70E740481C1C}">
                <a14:useLocalDpi xmlns:a14="http://schemas.microsoft.com/office/drawing/2010/main" val="0"/>
              </a:ext>
            </a:extLst>
          </a:blip>
          <a:srcRect l="960" t="8678" r="960" b="8678"/>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7" name="Rectangle 6">
            <a:extLst>
              <a:ext uri="{FF2B5EF4-FFF2-40B4-BE49-F238E27FC236}">
                <a16:creationId xmlns:a16="http://schemas.microsoft.com/office/drawing/2014/main" id="{07818328-D70A-DC2A-CD6A-88A2EF1A9521}"/>
              </a:ext>
            </a:extLst>
          </p:cNvPr>
          <p:cNvSpPr/>
          <p:nvPr/>
        </p:nvSpPr>
        <p:spPr>
          <a:xfrm>
            <a:off x="0" y="-3"/>
            <a:ext cx="12192000" cy="6858000"/>
          </a:xfrm>
          <a:prstGeom prst="rect">
            <a:avLst/>
          </a:prstGeom>
          <a:solidFill>
            <a:srgbClr val="0B0328">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Algerian" panose="04020705040A02060702" pitchFamily="82" charset="0"/>
            </a:endParaRPr>
          </a:p>
        </p:txBody>
      </p:sp>
      <p:grpSp>
        <p:nvGrpSpPr>
          <p:cNvPr id="2" name="Group 1">
            <a:extLst>
              <a:ext uri="{FF2B5EF4-FFF2-40B4-BE49-F238E27FC236}">
                <a16:creationId xmlns:a16="http://schemas.microsoft.com/office/drawing/2014/main" id="{178A89A2-D4A1-7DB9-B074-AF082C5E274A}"/>
              </a:ext>
            </a:extLst>
          </p:cNvPr>
          <p:cNvGrpSpPr/>
          <p:nvPr/>
        </p:nvGrpSpPr>
        <p:grpSpPr>
          <a:xfrm>
            <a:off x="0" y="4692580"/>
            <a:ext cx="2773344" cy="2165419"/>
            <a:chOff x="0" y="4552650"/>
            <a:chExt cx="2773344" cy="2305349"/>
          </a:xfrm>
        </p:grpSpPr>
        <p:sp>
          <p:nvSpPr>
            <p:cNvPr id="54" name="Right Triangle 53">
              <a:extLst>
                <a:ext uri="{FF2B5EF4-FFF2-40B4-BE49-F238E27FC236}">
                  <a16:creationId xmlns:a16="http://schemas.microsoft.com/office/drawing/2014/main" id="{8861DAA2-4254-BA4F-BBDC-E6CC0EFFADEE}"/>
                </a:ext>
              </a:extLst>
            </p:cNvPr>
            <p:cNvSpPr/>
            <p:nvPr/>
          </p:nvSpPr>
          <p:spPr>
            <a:xfrm>
              <a:off x="0" y="4552650"/>
              <a:ext cx="2773344" cy="2305349"/>
            </a:xfrm>
            <a:prstGeom prst="rtTriangle">
              <a:avLst/>
            </a:prstGeom>
            <a:solidFill>
              <a:srgbClr val="7730C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5" name="Right Triangle 54">
              <a:extLst>
                <a:ext uri="{FF2B5EF4-FFF2-40B4-BE49-F238E27FC236}">
                  <a16:creationId xmlns:a16="http://schemas.microsoft.com/office/drawing/2014/main" id="{4222FA37-DC31-985A-92CE-98DDF5E07AFD}"/>
                </a:ext>
              </a:extLst>
            </p:cNvPr>
            <p:cNvSpPr/>
            <p:nvPr/>
          </p:nvSpPr>
          <p:spPr>
            <a:xfrm>
              <a:off x="0" y="4941078"/>
              <a:ext cx="2306063" cy="1916921"/>
            </a:xfrm>
            <a:prstGeom prst="rtTriangle">
              <a:avLst/>
            </a:prstGeom>
            <a:solidFill>
              <a:srgbClr val="C0A8FE">
                <a:alpha val="1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62" name="Picture 61" descr="Icon&#10;&#10;Description automatically generated with medium confidence">
            <a:extLst>
              <a:ext uri="{FF2B5EF4-FFF2-40B4-BE49-F238E27FC236}">
                <a16:creationId xmlns:a16="http://schemas.microsoft.com/office/drawing/2014/main" id="{3C7B1D29-32F8-6A77-BBA0-8A00E8B8602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2095" y="0"/>
            <a:ext cx="378790" cy="1294885"/>
          </a:xfrm>
          <a:prstGeom prst="rect">
            <a:avLst/>
          </a:prstGeom>
        </p:spPr>
      </p:pic>
      <p:sp>
        <p:nvSpPr>
          <p:cNvPr id="67" name="Oval 66">
            <a:extLst>
              <a:ext uri="{FF2B5EF4-FFF2-40B4-BE49-F238E27FC236}">
                <a16:creationId xmlns:a16="http://schemas.microsoft.com/office/drawing/2014/main" id="{3BEFBEC9-569F-5A3C-130D-1314BD91B6E9}"/>
              </a:ext>
            </a:extLst>
          </p:cNvPr>
          <p:cNvSpPr/>
          <p:nvPr/>
        </p:nvSpPr>
        <p:spPr>
          <a:xfrm>
            <a:off x="151666" y="5604545"/>
            <a:ext cx="707253" cy="707253"/>
          </a:xfrm>
          <a:prstGeom prst="ellipse">
            <a:avLst/>
          </a:prstGeom>
          <a:solidFill>
            <a:srgbClr val="7730CA"/>
          </a:solidFill>
          <a:ln w="63500">
            <a:solidFill>
              <a:schemeClr val="bg1"/>
            </a:solidFill>
          </a:ln>
          <a:effectLst>
            <a:outerShdw blurRad="1524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8" name="Straight Connector 67">
            <a:extLst>
              <a:ext uri="{FF2B5EF4-FFF2-40B4-BE49-F238E27FC236}">
                <a16:creationId xmlns:a16="http://schemas.microsoft.com/office/drawing/2014/main" id="{F78AD12A-AC57-0EF7-66A8-0FDD72236405}"/>
              </a:ext>
            </a:extLst>
          </p:cNvPr>
          <p:cNvCxnSpPr>
            <a:cxnSpLocks/>
          </p:cNvCxnSpPr>
          <p:nvPr/>
        </p:nvCxnSpPr>
        <p:spPr>
          <a:xfrm>
            <a:off x="595990" y="29147"/>
            <a:ext cx="0" cy="5029200"/>
          </a:xfrm>
          <a:prstGeom prst="line">
            <a:avLst/>
          </a:prstGeom>
          <a:ln>
            <a:solidFill>
              <a:srgbClr val="C0A8FE"/>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6DDB429-C2DE-2A35-A713-75A7A89D5F23}"/>
              </a:ext>
            </a:extLst>
          </p:cNvPr>
          <p:cNvCxnSpPr>
            <a:cxnSpLocks/>
          </p:cNvCxnSpPr>
          <p:nvPr/>
        </p:nvCxnSpPr>
        <p:spPr>
          <a:xfrm>
            <a:off x="342445" y="0"/>
            <a:ext cx="0" cy="3597965"/>
          </a:xfrm>
          <a:prstGeom prst="line">
            <a:avLst/>
          </a:prstGeom>
          <a:ln>
            <a:solidFill>
              <a:srgbClr val="C0A8FE"/>
            </a:solidFill>
            <a:prstDash val="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97A60022-B496-E0A2-D385-D737978EE448}"/>
              </a:ext>
            </a:extLst>
          </p:cNvPr>
          <p:cNvSpPr txBox="1"/>
          <p:nvPr/>
        </p:nvSpPr>
        <p:spPr>
          <a:xfrm>
            <a:off x="1074779" y="98612"/>
            <a:ext cx="10462797" cy="1015663"/>
          </a:xfrm>
          <a:prstGeom prst="rect">
            <a:avLst/>
          </a:prstGeom>
          <a:noFill/>
        </p:spPr>
        <p:txBody>
          <a:bodyPr wrap="square" rtlCol="0">
            <a:spAutoFit/>
          </a:bodyPr>
          <a:lstStyle/>
          <a:p>
            <a:r>
              <a:rPr lang="en-US" sz="4200" dirty="0">
                <a:solidFill>
                  <a:schemeClr val="bg1"/>
                </a:solidFill>
                <a:latin typeface="Algerian" panose="04020705040A02060702" pitchFamily="82" charset="0"/>
              </a:rPr>
              <a:t>Encryption and Decryption Process : </a:t>
            </a:r>
            <a:endParaRPr kumimoji="0" lang="en-US" sz="4200" b="0" i="0" u="none" strike="noStrike" kern="1200" cap="none" spc="0" normalizeH="0" baseline="0" noProof="0" dirty="0">
              <a:ln>
                <a:noFill/>
              </a:ln>
              <a:solidFill>
                <a:schemeClr val="bg1"/>
              </a:solidFill>
              <a:effectLst/>
              <a:uLnTx/>
              <a:uFillTx/>
              <a:latin typeface="Algerian" panose="04020705040A02060702" pitchFamily="82" charset="0"/>
            </a:endParaRPr>
          </a:p>
          <a:p>
            <a:endParaRPr lang="en-US" dirty="0"/>
          </a:p>
        </p:txBody>
      </p:sp>
      <p:pic>
        <p:nvPicPr>
          <p:cNvPr id="5" name="Picture 4">
            <a:extLst>
              <a:ext uri="{FF2B5EF4-FFF2-40B4-BE49-F238E27FC236}">
                <a16:creationId xmlns:a16="http://schemas.microsoft.com/office/drawing/2014/main" id="{0C10018A-3D71-E270-F6A9-4DCA054FCEF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82901" y="862443"/>
            <a:ext cx="4803806" cy="3304314"/>
          </a:xfrm>
          <a:prstGeom prst="rect">
            <a:avLst/>
          </a:prstGeom>
        </p:spPr>
      </p:pic>
      <p:pic>
        <p:nvPicPr>
          <p:cNvPr id="9" name="Picture 8">
            <a:extLst>
              <a:ext uri="{FF2B5EF4-FFF2-40B4-BE49-F238E27FC236}">
                <a16:creationId xmlns:a16="http://schemas.microsoft.com/office/drawing/2014/main" id="{6B6DA99C-4E0E-CE66-DF64-7298D5B4AEC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82904" y="3685410"/>
            <a:ext cx="4803803" cy="3012138"/>
          </a:xfrm>
          <a:prstGeom prst="rect">
            <a:avLst/>
          </a:prstGeom>
        </p:spPr>
      </p:pic>
      <p:pic>
        <p:nvPicPr>
          <p:cNvPr id="11" name="Picture 10">
            <a:extLst>
              <a:ext uri="{FF2B5EF4-FFF2-40B4-BE49-F238E27FC236}">
                <a16:creationId xmlns:a16="http://schemas.microsoft.com/office/drawing/2014/main" id="{86ECC769-2B72-EB25-821D-9A14A2D5C88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13659" y="3801035"/>
            <a:ext cx="5547906" cy="2896513"/>
          </a:xfrm>
          <a:prstGeom prst="rect">
            <a:avLst/>
          </a:prstGeom>
        </p:spPr>
      </p:pic>
      <p:pic>
        <p:nvPicPr>
          <p:cNvPr id="14" name="Picture 13">
            <a:extLst>
              <a:ext uri="{FF2B5EF4-FFF2-40B4-BE49-F238E27FC236}">
                <a16:creationId xmlns:a16="http://schemas.microsoft.com/office/drawing/2014/main" id="{0093D415-179C-5D56-1C99-D1C3D4C53A9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21229" y="762304"/>
            <a:ext cx="3899144" cy="3038729"/>
          </a:xfrm>
          <a:prstGeom prst="rect">
            <a:avLst/>
          </a:prstGeom>
          <a:noFill/>
          <a:effectLst>
            <a:outerShdw blurRad="1028700" dist="50800" dir="21540000" algn="ctr" rotWithShape="0">
              <a:schemeClr val="bg1">
                <a:lumMod val="95000"/>
                <a:alpha val="57000"/>
              </a:schemeClr>
            </a:outerShdw>
          </a:effectLst>
        </p:spPr>
      </p:pic>
    </p:spTree>
    <p:extLst>
      <p:ext uri="{BB962C8B-B14F-4D97-AF65-F5344CB8AC3E}">
        <p14:creationId xmlns:p14="http://schemas.microsoft.com/office/powerpoint/2010/main" val="522463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1000"/>
                                        <p:tgtEl>
                                          <p:spTgt spid="11"/>
                                        </p:tgtEl>
                                      </p:cBhvr>
                                    </p:animEffect>
                                    <p:anim calcmode="lin" valueType="num">
                                      <p:cBhvr>
                                        <p:cTn id="23" dur="1000" fill="hold"/>
                                        <p:tgtEl>
                                          <p:spTgt spid="11"/>
                                        </p:tgtEl>
                                        <p:attrNameLst>
                                          <p:attrName>ppt_x</p:attrName>
                                        </p:attrNameLst>
                                      </p:cBhvr>
                                      <p:tavLst>
                                        <p:tav tm="0">
                                          <p:val>
                                            <p:strVal val="#ppt_x"/>
                                          </p:val>
                                        </p:tav>
                                        <p:tav tm="100000">
                                          <p:val>
                                            <p:strVal val="#ppt_x"/>
                                          </p:val>
                                        </p:tav>
                                      </p:tavLst>
                                    </p:anim>
                                    <p:anim calcmode="lin" valueType="num">
                                      <p:cBhvr>
                                        <p:cTn id="24"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long hallway with glass doors&#10;&#10;Description automatically generated with low confidence">
            <a:extLst>
              <a:ext uri="{FF2B5EF4-FFF2-40B4-BE49-F238E27FC236}">
                <a16:creationId xmlns:a16="http://schemas.microsoft.com/office/drawing/2014/main" id="{EE383633-D64E-F212-E2C6-A1D59A8D4CD7}"/>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661" t="29185" r="661" b="29185"/>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2" name="Slide Number Placeholder 1">
            <a:extLst>
              <a:ext uri="{FF2B5EF4-FFF2-40B4-BE49-F238E27FC236}">
                <a16:creationId xmlns:a16="http://schemas.microsoft.com/office/drawing/2014/main" id="{F1DA760C-05D0-D86C-8813-94C4CD1FC62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78D966-3595-412F-8092-B1931963EDF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96F5B36F-DAD0-4911-7609-821869141E84}"/>
              </a:ext>
            </a:extLst>
          </p:cNvPr>
          <p:cNvSpPr/>
          <p:nvPr/>
        </p:nvSpPr>
        <p:spPr>
          <a:xfrm>
            <a:off x="-12610" y="-20313"/>
            <a:ext cx="12192000" cy="6858000"/>
          </a:xfrm>
          <a:prstGeom prst="rect">
            <a:avLst/>
          </a:prstGeom>
          <a:solidFill>
            <a:srgbClr val="0B0328">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Freeform: Shape 11">
            <a:extLst>
              <a:ext uri="{FF2B5EF4-FFF2-40B4-BE49-F238E27FC236}">
                <a16:creationId xmlns:a16="http://schemas.microsoft.com/office/drawing/2014/main" id="{97B188D8-DD98-95D1-F13E-D8069EDC5039}"/>
              </a:ext>
            </a:extLst>
          </p:cNvPr>
          <p:cNvSpPr/>
          <p:nvPr/>
        </p:nvSpPr>
        <p:spPr>
          <a:xfrm>
            <a:off x="2347383" y="0"/>
            <a:ext cx="6282476" cy="2061028"/>
          </a:xfrm>
          <a:custGeom>
            <a:avLst/>
            <a:gdLst>
              <a:gd name="connsiteX0" fmla="*/ 0 w 6282476"/>
              <a:gd name="connsiteY0" fmla="*/ 0 h 2061028"/>
              <a:gd name="connsiteX1" fmla="*/ 6282476 w 6282476"/>
              <a:gd name="connsiteY1" fmla="*/ 0 h 2061028"/>
              <a:gd name="connsiteX2" fmla="*/ 6153185 w 6282476"/>
              <a:gd name="connsiteY2" fmla="*/ 268392 h 2061028"/>
              <a:gd name="connsiteX3" fmla="*/ 3141239 w 6282476"/>
              <a:gd name="connsiteY3" fmla="*/ 2061028 h 2061028"/>
              <a:gd name="connsiteX4" fmla="*/ 129291 w 6282476"/>
              <a:gd name="connsiteY4" fmla="*/ 268392 h 2061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2476" h="2061028">
                <a:moveTo>
                  <a:pt x="0" y="0"/>
                </a:moveTo>
                <a:lnTo>
                  <a:pt x="6282476" y="0"/>
                </a:lnTo>
                <a:lnTo>
                  <a:pt x="6153185" y="268392"/>
                </a:lnTo>
                <a:cubicBezTo>
                  <a:pt x="5573135" y="1336167"/>
                  <a:pt x="4441837" y="2061028"/>
                  <a:pt x="3141239" y="2061028"/>
                </a:cubicBezTo>
                <a:cubicBezTo>
                  <a:pt x="1840640" y="2061028"/>
                  <a:pt x="709341" y="1336167"/>
                  <a:pt x="129291" y="268392"/>
                </a:cubicBezTo>
                <a:close/>
              </a:path>
            </a:pathLst>
          </a:custGeom>
          <a:solidFill>
            <a:srgbClr val="7730C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4FFBDBB2-EDFA-130B-514C-6898CC884504}"/>
              </a:ext>
            </a:extLst>
          </p:cNvPr>
          <p:cNvSpPr/>
          <p:nvPr/>
        </p:nvSpPr>
        <p:spPr>
          <a:xfrm>
            <a:off x="0" y="-1"/>
            <a:ext cx="7006461" cy="2974313"/>
          </a:xfrm>
          <a:custGeom>
            <a:avLst/>
            <a:gdLst>
              <a:gd name="connsiteX0" fmla="*/ 0 w 7006461"/>
              <a:gd name="connsiteY0" fmla="*/ 0 h 2974313"/>
              <a:gd name="connsiteX1" fmla="*/ 7006461 w 7006461"/>
              <a:gd name="connsiteY1" fmla="*/ 0 h 2974313"/>
              <a:gd name="connsiteX2" fmla="*/ 6819878 w 7006461"/>
              <a:gd name="connsiteY2" fmla="*/ 387322 h 2974313"/>
              <a:gd name="connsiteX3" fmla="*/ 2473276 w 7006461"/>
              <a:gd name="connsiteY3" fmla="*/ 2974313 h 2974313"/>
              <a:gd name="connsiteX4" fmla="*/ 196267 w 7006461"/>
              <a:gd name="connsiteY4" fmla="*/ 2419802 h 2974313"/>
              <a:gd name="connsiteX5" fmla="*/ 0 w 7006461"/>
              <a:gd name="connsiteY5" fmla="*/ 2309313 h 2974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06461" h="2974313">
                <a:moveTo>
                  <a:pt x="0" y="0"/>
                </a:moveTo>
                <a:lnTo>
                  <a:pt x="7006461" y="0"/>
                </a:lnTo>
                <a:lnTo>
                  <a:pt x="6819878" y="387322"/>
                </a:lnTo>
                <a:cubicBezTo>
                  <a:pt x="5982796" y="1928251"/>
                  <a:pt x="4350196" y="2974313"/>
                  <a:pt x="2473276" y="2974313"/>
                </a:cubicBezTo>
                <a:cubicBezTo>
                  <a:pt x="1652123" y="2974313"/>
                  <a:pt x="877734" y="2774090"/>
                  <a:pt x="196267" y="2419802"/>
                </a:cubicBezTo>
                <a:lnTo>
                  <a:pt x="0" y="2309313"/>
                </a:lnTo>
                <a:close/>
              </a:path>
            </a:pathLst>
          </a:custGeom>
          <a:solidFill>
            <a:srgbClr val="7730C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Freeform: Shape 12">
            <a:extLst>
              <a:ext uri="{FF2B5EF4-FFF2-40B4-BE49-F238E27FC236}">
                <a16:creationId xmlns:a16="http://schemas.microsoft.com/office/drawing/2014/main" id="{43A87E34-9DF5-6C6B-D935-059E3990AA7B}"/>
              </a:ext>
            </a:extLst>
          </p:cNvPr>
          <p:cNvSpPr/>
          <p:nvPr/>
        </p:nvSpPr>
        <p:spPr>
          <a:xfrm>
            <a:off x="181172" y="-1"/>
            <a:ext cx="7779925" cy="2552281"/>
          </a:xfrm>
          <a:custGeom>
            <a:avLst/>
            <a:gdLst>
              <a:gd name="connsiteX0" fmla="*/ 0 w 6282476"/>
              <a:gd name="connsiteY0" fmla="*/ 0 h 2061028"/>
              <a:gd name="connsiteX1" fmla="*/ 6282476 w 6282476"/>
              <a:gd name="connsiteY1" fmla="*/ 0 h 2061028"/>
              <a:gd name="connsiteX2" fmla="*/ 6153185 w 6282476"/>
              <a:gd name="connsiteY2" fmla="*/ 268392 h 2061028"/>
              <a:gd name="connsiteX3" fmla="*/ 3141239 w 6282476"/>
              <a:gd name="connsiteY3" fmla="*/ 2061028 h 2061028"/>
              <a:gd name="connsiteX4" fmla="*/ 129291 w 6282476"/>
              <a:gd name="connsiteY4" fmla="*/ 268392 h 2061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2476" h="2061028">
                <a:moveTo>
                  <a:pt x="0" y="0"/>
                </a:moveTo>
                <a:lnTo>
                  <a:pt x="6282476" y="0"/>
                </a:lnTo>
                <a:lnTo>
                  <a:pt x="6153185" y="268392"/>
                </a:lnTo>
                <a:cubicBezTo>
                  <a:pt x="5573135" y="1336167"/>
                  <a:pt x="4441837" y="2061028"/>
                  <a:pt x="3141239" y="2061028"/>
                </a:cubicBezTo>
                <a:cubicBezTo>
                  <a:pt x="1840640" y="2061028"/>
                  <a:pt x="709341" y="1336167"/>
                  <a:pt x="129291" y="268392"/>
                </a:cubicBezTo>
                <a:close/>
              </a:path>
            </a:pathLst>
          </a:custGeom>
          <a:solidFill>
            <a:srgbClr val="7730C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B87FC442-3FDA-0245-244D-54345E1CBD7D}"/>
              </a:ext>
            </a:extLst>
          </p:cNvPr>
          <p:cNvSpPr/>
          <p:nvPr/>
        </p:nvSpPr>
        <p:spPr>
          <a:xfrm>
            <a:off x="324863" y="2301071"/>
            <a:ext cx="673240" cy="673240"/>
          </a:xfrm>
          <a:prstGeom prst="ellipse">
            <a:avLst/>
          </a:prstGeom>
          <a:solidFill>
            <a:srgbClr val="C0A8FE">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id="{FDFD2886-79E3-4AFC-A93C-DB18D9EAFCAC}"/>
              </a:ext>
            </a:extLst>
          </p:cNvPr>
          <p:cNvSpPr/>
          <p:nvPr/>
        </p:nvSpPr>
        <p:spPr>
          <a:xfrm>
            <a:off x="518646" y="2494854"/>
            <a:ext cx="285675" cy="285675"/>
          </a:xfrm>
          <a:prstGeom prst="ellipse">
            <a:avLst/>
          </a:prstGeom>
          <a:solidFill>
            <a:srgbClr val="7730CA"/>
          </a:solidFill>
          <a:ln w="25400">
            <a:solidFill>
              <a:schemeClr val="bg1"/>
            </a:solidFill>
          </a:ln>
          <a:effectLst>
            <a:outerShdw blurRad="1524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5" name="Group 24">
            <a:extLst>
              <a:ext uri="{FF2B5EF4-FFF2-40B4-BE49-F238E27FC236}">
                <a16:creationId xmlns:a16="http://schemas.microsoft.com/office/drawing/2014/main" id="{D440ACEB-F811-CC35-B313-0C263DE216B3}"/>
              </a:ext>
            </a:extLst>
          </p:cNvPr>
          <p:cNvGrpSpPr/>
          <p:nvPr/>
        </p:nvGrpSpPr>
        <p:grpSpPr>
          <a:xfrm flipH="1">
            <a:off x="8986576" y="4552650"/>
            <a:ext cx="3205424" cy="2305349"/>
            <a:chOff x="0" y="4552650"/>
            <a:chExt cx="3205424" cy="2305349"/>
          </a:xfrm>
        </p:grpSpPr>
        <p:sp>
          <p:nvSpPr>
            <p:cNvPr id="23" name="Right Triangle 22">
              <a:extLst>
                <a:ext uri="{FF2B5EF4-FFF2-40B4-BE49-F238E27FC236}">
                  <a16:creationId xmlns:a16="http://schemas.microsoft.com/office/drawing/2014/main" id="{5828DD09-1384-2AAE-5863-6C73F0F56A3E}"/>
                </a:ext>
              </a:extLst>
            </p:cNvPr>
            <p:cNvSpPr/>
            <p:nvPr/>
          </p:nvSpPr>
          <p:spPr>
            <a:xfrm>
              <a:off x="0" y="4552650"/>
              <a:ext cx="3205424" cy="2305349"/>
            </a:xfrm>
            <a:prstGeom prst="rtTriangle">
              <a:avLst/>
            </a:prstGeom>
            <a:solidFill>
              <a:srgbClr val="604A8B">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Right Triangle 23">
              <a:extLst>
                <a:ext uri="{FF2B5EF4-FFF2-40B4-BE49-F238E27FC236}">
                  <a16:creationId xmlns:a16="http://schemas.microsoft.com/office/drawing/2014/main" id="{6CB5A28D-F109-C64F-23E5-4DC85D522565}"/>
                </a:ext>
              </a:extLst>
            </p:cNvPr>
            <p:cNvSpPr/>
            <p:nvPr/>
          </p:nvSpPr>
          <p:spPr>
            <a:xfrm>
              <a:off x="1" y="4941078"/>
              <a:ext cx="2665342" cy="1916921"/>
            </a:xfrm>
            <a:prstGeom prst="rtTriangle">
              <a:avLst/>
            </a:prstGeom>
            <a:solidFill>
              <a:srgbClr val="604A8B">
                <a:alpha val="1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27" name="Straight Connector 26">
            <a:extLst>
              <a:ext uri="{FF2B5EF4-FFF2-40B4-BE49-F238E27FC236}">
                <a16:creationId xmlns:a16="http://schemas.microsoft.com/office/drawing/2014/main" id="{045AB648-B5BA-D110-41C5-2CC250A6EC41}"/>
              </a:ext>
            </a:extLst>
          </p:cNvPr>
          <p:cNvCxnSpPr>
            <a:cxnSpLocks/>
          </p:cNvCxnSpPr>
          <p:nvPr/>
        </p:nvCxnSpPr>
        <p:spPr>
          <a:xfrm>
            <a:off x="673240" y="3155183"/>
            <a:ext cx="0" cy="3702817"/>
          </a:xfrm>
          <a:prstGeom prst="line">
            <a:avLst/>
          </a:prstGeom>
          <a:ln>
            <a:solidFill>
              <a:srgbClr val="7730CA"/>
            </a:solidFill>
            <a:prstDash val="dash"/>
          </a:ln>
        </p:spPr>
        <p:style>
          <a:lnRef idx="1">
            <a:schemeClr val="accent1"/>
          </a:lnRef>
          <a:fillRef idx="0">
            <a:schemeClr val="accent1"/>
          </a:fillRef>
          <a:effectRef idx="0">
            <a:schemeClr val="accent1"/>
          </a:effectRef>
          <a:fontRef idx="minor">
            <a:schemeClr val="tx1"/>
          </a:fontRef>
        </p:style>
      </p:cxnSp>
      <p:sp>
        <p:nvSpPr>
          <p:cNvPr id="35" name="Freeform: Shape 34">
            <a:extLst>
              <a:ext uri="{FF2B5EF4-FFF2-40B4-BE49-F238E27FC236}">
                <a16:creationId xmlns:a16="http://schemas.microsoft.com/office/drawing/2014/main" id="{EE3D956C-95A7-09A8-5424-102CE14E9B27}"/>
              </a:ext>
            </a:extLst>
          </p:cNvPr>
          <p:cNvSpPr/>
          <p:nvPr/>
        </p:nvSpPr>
        <p:spPr>
          <a:xfrm>
            <a:off x="-12610" y="-1"/>
            <a:ext cx="4855706" cy="3416128"/>
          </a:xfrm>
          <a:custGeom>
            <a:avLst/>
            <a:gdLst>
              <a:gd name="connsiteX0" fmla="*/ 0 w 4855706"/>
              <a:gd name="connsiteY0" fmla="*/ 0 h 3416128"/>
              <a:gd name="connsiteX1" fmla="*/ 4855706 w 4855706"/>
              <a:gd name="connsiteY1" fmla="*/ 0 h 3416128"/>
              <a:gd name="connsiteX2" fmla="*/ 4640600 w 4855706"/>
              <a:gd name="connsiteY2" fmla="*/ 446533 h 3416128"/>
              <a:gd name="connsiteX3" fmla="*/ 31791 w 4855706"/>
              <a:gd name="connsiteY3" fmla="*/ 3415024 h 3416128"/>
              <a:gd name="connsiteX4" fmla="*/ 0 w 4855706"/>
              <a:gd name="connsiteY4" fmla="*/ 3416128 h 3416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5706" h="3416128">
                <a:moveTo>
                  <a:pt x="0" y="0"/>
                </a:moveTo>
                <a:lnTo>
                  <a:pt x="4855706" y="0"/>
                </a:lnTo>
                <a:lnTo>
                  <a:pt x="4640600" y="446533"/>
                </a:lnTo>
                <a:cubicBezTo>
                  <a:pt x="3735867" y="2111995"/>
                  <a:pt x="2025063" y="3276026"/>
                  <a:pt x="31791" y="3415024"/>
                </a:cubicBezTo>
                <a:lnTo>
                  <a:pt x="0" y="3416128"/>
                </a:lnTo>
                <a:close/>
              </a:path>
            </a:pathLst>
          </a:custGeom>
          <a:solidFill>
            <a:srgbClr val="7730C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A77FDC8D-2FEB-E5B4-DA4F-705BCF13DF70}"/>
              </a:ext>
            </a:extLst>
          </p:cNvPr>
          <p:cNvSpPr txBox="1"/>
          <p:nvPr/>
        </p:nvSpPr>
        <p:spPr>
          <a:xfrm>
            <a:off x="518646" y="381094"/>
            <a:ext cx="6762887" cy="769441"/>
          </a:xfrm>
          <a:prstGeom prst="rect">
            <a:avLst/>
          </a:prstGeom>
          <a:noFill/>
        </p:spPr>
        <p:txBody>
          <a:bodyPr wrap="square" rtlCol="0">
            <a:spAutoFit/>
          </a:bodyPr>
          <a:lstStyle/>
          <a:p>
            <a:r>
              <a:rPr lang="en-US" sz="4400" dirty="0">
                <a:solidFill>
                  <a:schemeClr val="bg1"/>
                </a:solidFill>
                <a:latin typeface="Algerian" panose="04020705040A02060702" pitchFamily="82" charset="0"/>
              </a:rPr>
              <a:t>Conclusion</a:t>
            </a:r>
            <a:r>
              <a:rPr lang="en-US" dirty="0">
                <a:solidFill>
                  <a:schemeClr val="bg1"/>
                </a:solidFill>
                <a:latin typeface="Algerian" panose="04020705040A02060702" pitchFamily="82" charset="0"/>
              </a:rPr>
              <a:t>  </a:t>
            </a:r>
            <a:r>
              <a:rPr lang="en-US" sz="4400" dirty="0">
                <a:solidFill>
                  <a:schemeClr val="bg1"/>
                </a:solidFill>
                <a:latin typeface="Algerian" panose="04020705040A02060702" pitchFamily="82" charset="0"/>
              </a:rPr>
              <a:t>:</a:t>
            </a:r>
          </a:p>
        </p:txBody>
      </p:sp>
      <p:sp>
        <p:nvSpPr>
          <p:cNvPr id="5" name="TextBox 4">
            <a:extLst>
              <a:ext uri="{FF2B5EF4-FFF2-40B4-BE49-F238E27FC236}">
                <a16:creationId xmlns:a16="http://schemas.microsoft.com/office/drawing/2014/main" id="{5DFBBE55-9C67-7D00-DCE8-34CEE8E838E3}"/>
              </a:ext>
            </a:extLst>
          </p:cNvPr>
          <p:cNvSpPr txBox="1"/>
          <p:nvPr/>
        </p:nvSpPr>
        <p:spPr>
          <a:xfrm>
            <a:off x="1232974" y="1532059"/>
            <a:ext cx="6620103" cy="6463308"/>
          </a:xfrm>
          <a:prstGeom prst="rect">
            <a:avLst/>
          </a:prstGeom>
          <a:noFill/>
        </p:spPr>
        <p:txBody>
          <a:bodyPr wrap="square" rtlCol="0">
            <a:spAutoFit/>
          </a:bodyPr>
          <a:lstStyle/>
          <a:p>
            <a:r>
              <a:rPr lang="en-US" dirty="0">
                <a:solidFill>
                  <a:schemeClr val="bg1"/>
                </a:solidFill>
              </a:rPr>
              <a:t>The Technique of hiding messages within images, commonly known as steganography, emerges as an elegant solution for secure communication. This method seamlessly embeds information within the pixels of an image, providing a discreet and creative avenue for data transfer. The evolution of image-based steganography techniques mirrors the continual progress in technology, presenting a dynamic and innovative landscape for users. It's worth appreciating the potential applications of this method in safeguarding sensitive information and fostering privacy-conscious communication.</a:t>
            </a:r>
          </a:p>
          <a:p>
            <a:endParaRPr lang="en-US" dirty="0">
              <a:solidFill>
                <a:schemeClr val="bg1"/>
              </a:solidFill>
            </a:endParaRPr>
          </a:p>
          <a:p>
            <a:r>
              <a:rPr lang="en-US" dirty="0">
                <a:solidFill>
                  <a:schemeClr val="bg1"/>
                </a:solidFill>
              </a:rPr>
              <a:t>Yet, it is vital to approach this technology with a sense of responsibility and ethical awareness. The potential for misuse, including concerns related to cybersecurity and law enforcement, necessitates a thoughtful and balanced perspective. By promoting responsible use and staying mindful of ethical considerations, we can fully embrace the positive aspects of image-based steganography, ensuring it remains a valuable asset for privacy-conscious individuals and organizations in the ever-evolving digital landscape.</a:t>
            </a: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p:txBody>
      </p:sp>
      <p:pic>
        <p:nvPicPr>
          <p:cNvPr id="11" name="Picture 10">
            <a:extLst>
              <a:ext uri="{FF2B5EF4-FFF2-40B4-BE49-F238E27FC236}">
                <a16:creationId xmlns:a16="http://schemas.microsoft.com/office/drawing/2014/main" id="{117E115F-7E34-35F9-E1C6-A32110B5710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14507" y="-47523"/>
            <a:ext cx="3406713" cy="3406713"/>
          </a:xfrm>
          <a:prstGeom prst="rect">
            <a:avLst/>
          </a:prstGeom>
          <a:effectLst>
            <a:outerShdw blurRad="1231900" dist="139700" dir="5400000" sx="151000" sy="151000" algn="ctr" rotWithShape="0">
              <a:schemeClr val="bg1">
                <a:alpha val="52000"/>
              </a:schemeClr>
            </a:outerShdw>
          </a:effectLst>
        </p:spPr>
      </p:pic>
    </p:spTree>
    <p:extLst>
      <p:ext uri="{BB962C8B-B14F-4D97-AF65-F5344CB8AC3E}">
        <p14:creationId xmlns:p14="http://schemas.microsoft.com/office/powerpoint/2010/main" val="21222693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1000"/>
                                        <p:tgtEl>
                                          <p:spTgt spid="5">
                                            <p:txEl>
                                              <p:pRg st="2" end="2"/>
                                            </p:txEl>
                                          </p:spTgt>
                                        </p:tgtEl>
                                      </p:cBhvr>
                                    </p:animEffect>
                                    <p:anim calcmode="lin" valueType="num">
                                      <p:cBhvr>
                                        <p:cTn id="13"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6" presetClass="entr" presetSubtype="21"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barn(inVertical)">
                                      <p:cBhvr>
                                        <p:cTn id="1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floor, indoor, room, building&#10;&#10;Description automatically generated">
            <a:extLst>
              <a:ext uri="{FF2B5EF4-FFF2-40B4-BE49-F238E27FC236}">
                <a16:creationId xmlns:a16="http://schemas.microsoft.com/office/drawing/2014/main" id="{67307D70-F6D5-7F0C-8DE3-EF82B137214D}"/>
              </a:ext>
            </a:extLst>
          </p:cNvPr>
          <p:cNvPicPr>
            <a:picLocks noChangeAspect="1"/>
          </p:cNvPicPr>
          <p:nvPr/>
        </p:nvPicPr>
        <p:blipFill>
          <a:blip r:embed="rId3">
            <a:alphaModFix amt="70000"/>
            <a:extLst>
              <a:ext uri="{28A0092B-C50C-407E-A947-70E740481C1C}">
                <a14:useLocalDpi xmlns:a14="http://schemas.microsoft.com/office/drawing/2010/main" val="0"/>
              </a:ext>
            </a:extLst>
          </a:blip>
          <a:srcRect b="15735"/>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36" name="Freeform: Shape 35">
            <a:extLst>
              <a:ext uri="{FF2B5EF4-FFF2-40B4-BE49-F238E27FC236}">
                <a16:creationId xmlns:a16="http://schemas.microsoft.com/office/drawing/2014/main" id="{F214A4C6-021B-C26A-2015-77F46FE94AC7}"/>
              </a:ext>
            </a:extLst>
          </p:cNvPr>
          <p:cNvSpPr/>
          <p:nvPr/>
        </p:nvSpPr>
        <p:spPr>
          <a:xfrm>
            <a:off x="-114208" y="-302059"/>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2523532 w 12192000"/>
              <a:gd name="connsiteY3" fmla="*/ 6858000 h 6858000"/>
              <a:gd name="connsiteX4" fmla="*/ 258016 w 12192000"/>
              <a:gd name="connsiteY4" fmla="*/ 4347496 h 6858000"/>
              <a:gd name="connsiteX5" fmla="*/ 0 w 12192000"/>
              <a:gd name="connsiteY5" fmla="*/ 433446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6858000"/>
                </a:lnTo>
                <a:lnTo>
                  <a:pt x="2523532" y="6858000"/>
                </a:lnTo>
                <a:cubicBezTo>
                  <a:pt x="2523532" y="5551398"/>
                  <a:pt x="1530523" y="4476726"/>
                  <a:pt x="258016" y="4347496"/>
                </a:cubicBezTo>
                <a:lnTo>
                  <a:pt x="0" y="4334467"/>
                </a:lnTo>
                <a:close/>
              </a:path>
            </a:pathLst>
          </a:custGeom>
          <a:solidFill>
            <a:srgbClr val="0B0328">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744B9211-65FF-AE61-DE37-DE86DB99CBC5}"/>
              </a:ext>
            </a:extLst>
          </p:cNvPr>
          <p:cNvSpPr/>
          <p:nvPr/>
        </p:nvSpPr>
        <p:spPr>
          <a:xfrm rot="16200000">
            <a:off x="9552071" y="-1714357"/>
            <a:ext cx="925572" cy="4354286"/>
          </a:xfrm>
          <a:custGeom>
            <a:avLst/>
            <a:gdLst>
              <a:gd name="connsiteX0" fmla="*/ 1191674 w 1191674"/>
              <a:gd name="connsiteY0" fmla="*/ 95345 h 5606142"/>
              <a:gd name="connsiteX1" fmla="*/ 1191674 w 1191674"/>
              <a:gd name="connsiteY1" fmla="*/ 5606142 h 5606142"/>
              <a:gd name="connsiteX2" fmla="*/ 0 w 1191674"/>
              <a:gd name="connsiteY2" fmla="*/ 5606142 h 5606142"/>
              <a:gd name="connsiteX3" fmla="*/ 0 w 1191674"/>
              <a:gd name="connsiteY3" fmla="*/ 816428 h 5606142"/>
              <a:gd name="connsiteX4" fmla="*/ 816428 w 1191674"/>
              <a:gd name="connsiteY4" fmla="*/ 0 h 5606142"/>
              <a:gd name="connsiteX5" fmla="*/ 1134219 w 1191674"/>
              <a:gd name="connsiteY5" fmla="*/ 64159 h 5606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1674" h="5606142">
                <a:moveTo>
                  <a:pt x="1191674" y="95345"/>
                </a:moveTo>
                <a:lnTo>
                  <a:pt x="1191674" y="5606142"/>
                </a:lnTo>
                <a:lnTo>
                  <a:pt x="0" y="5606142"/>
                </a:lnTo>
                <a:lnTo>
                  <a:pt x="0" y="816428"/>
                </a:lnTo>
                <a:cubicBezTo>
                  <a:pt x="0" y="365527"/>
                  <a:pt x="365527" y="0"/>
                  <a:pt x="816428" y="0"/>
                </a:cubicBezTo>
                <a:cubicBezTo>
                  <a:pt x="929153" y="0"/>
                  <a:pt x="1036543" y="22846"/>
                  <a:pt x="1134219" y="64159"/>
                </a:cubicBezTo>
                <a:close/>
              </a:path>
            </a:pathLst>
          </a:custGeom>
          <a:pattFill prst="dkUpDiag">
            <a:fgClr>
              <a:srgbClr val="604A8B"/>
            </a:fgClr>
            <a:bgClr>
              <a:srgbClr val="C0A8FE"/>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0A747828-29B4-1AFA-CA24-75C4E62773AD}"/>
              </a:ext>
            </a:extLst>
          </p:cNvPr>
          <p:cNvSpPr/>
          <p:nvPr/>
        </p:nvSpPr>
        <p:spPr>
          <a:xfrm rot="5400000">
            <a:off x="10175421" y="65163"/>
            <a:ext cx="734786" cy="1469571"/>
          </a:xfrm>
          <a:custGeom>
            <a:avLst/>
            <a:gdLst>
              <a:gd name="connsiteX0" fmla="*/ 717550 w 717550"/>
              <a:gd name="connsiteY0" fmla="*/ 0 h 1435100"/>
              <a:gd name="connsiteX1" fmla="*/ 717550 w 717550"/>
              <a:gd name="connsiteY1" fmla="*/ 1435100 h 1435100"/>
              <a:gd name="connsiteX2" fmla="*/ 0 w 717550"/>
              <a:gd name="connsiteY2" fmla="*/ 717550 h 1435100"/>
              <a:gd name="connsiteX3" fmla="*/ 717550 w 717550"/>
              <a:gd name="connsiteY3" fmla="*/ 0 h 1435100"/>
            </a:gdLst>
            <a:ahLst/>
            <a:cxnLst>
              <a:cxn ang="0">
                <a:pos x="connsiteX0" y="connsiteY0"/>
              </a:cxn>
              <a:cxn ang="0">
                <a:pos x="connsiteX1" y="connsiteY1"/>
              </a:cxn>
              <a:cxn ang="0">
                <a:pos x="connsiteX2" y="connsiteY2"/>
              </a:cxn>
              <a:cxn ang="0">
                <a:pos x="connsiteX3" y="connsiteY3"/>
              </a:cxn>
            </a:cxnLst>
            <a:rect l="l" t="t" r="r" b="b"/>
            <a:pathLst>
              <a:path w="717550" h="1435100">
                <a:moveTo>
                  <a:pt x="717550" y="0"/>
                </a:moveTo>
                <a:lnTo>
                  <a:pt x="717550" y="1435100"/>
                </a:lnTo>
                <a:cubicBezTo>
                  <a:pt x="321258" y="1435100"/>
                  <a:pt x="0" y="1113842"/>
                  <a:pt x="0" y="717550"/>
                </a:cubicBezTo>
                <a:cubicBezTo>
                  <a:pt x="0" y="321258"/>
                  <a:pt x="321258" y="0"/>
                  <a:pt x="717550" y="0"/>
                </a:cubicBezTo>
                <a:close/>
              </a:path>
            </a:pathLst>
          </a:custGeom>
          <a:solidFill>
            <a:srgbClr val="7730C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0" name="Straight Connector 19">
            <a:extLst>
              <a:ext uri="{FF2B5EF4-FFF2-40B4-BE49-F238E27FC236}">
                <a16:creationId xmlns:a16="http://schemas.microsoft.com/office/drawing/2014/main" id="{3E791A7D-914D-D2D6-5B60-274A5DEE0F1E}"/>
              </a:ext>
            </a:extLst>
          </p:cNvPr>
          <p:cNvCxnSpPr>
            <a:cxnSpLocks/>
          </p:cNvCxnSpPr>
          <p:nvPr/>
        </p:nvCxnSpPr>
        <p:spPr>
          <a:xfrm>
            <a:off x="0" y="432552"/>
            <a:ext cx="10695214" cy="0"/>
          </a:xfrm>
          <a:prstGeom prst="line">
            <a:avLst/>
          </a:prstGeom>
          <a:ln w="12700" cap="rnd">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2846EC3D-A415-89E0-8B9C-4E940747D676}"/>
              </a:ext>
            </a:extLst>
          </p:cNvPr>
          <p:cNvSpPr/>
          <p:nvPr/>
        </p:nvSpPr>
        <p:spPr>
          <a:xfrm>
            <a:off x="10365488" y="255225"/>
            <a:ext cx="354654" cy="354654"/>
          </a:xfrm>
          <a:prstGeom prst="ellipse">
            <a:avLst/>
          </a:prstGeom>
          <a:solidFill>
            <a:srgbClr val="0B03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B7297310-BB26-E6BE-BF9D-EFC491F86E7F}"/>
              </a:ext>
            </a:extLst>
          </p:cNvPr>
          <p:cNvSpPr/>
          <p:nvPr/>
        </p:nvSpPr>
        <p:spPr>
          <a:xfrm>
            <a:off x="0" y="4678134"/>
            <a:ext cx="2179865" cy="2179866"/>
          </a:xfrm>
          <a:custGeom>
            <a:avLst/>
            <a:gdLst>
              <a:gd name="connsiteX0" fmla="*/ 0 w 2179865"/>
              <a:gd name="connsiteY0" fmla="*/ 0 h 2179866"/>
              <a:gd name="connsiteX1" fmla="*/ 2179865 w 2179865"/>
              <a:gd name="connsiteY1" fmla="*/ 2179865 h 2179866"/>
              <a:gd name="connsiteX2" fmla="*/ 2179865 w 2179865"/>
              <a:gd name="connsiteY2" fmla="*/ 2179866 h 2179866"/>
              <a:gd name="connsiteX3" fmla="*/ 1890377 w 2179865"/>
              <a:gd name="connsiteY3" fmla="*/ 2179866 h 2179866"/>
              <a:gd name="connsiteX4" fmla="*/ 1890377 w 2179865"/>
              <a:gd name="connsiteY4" fmla="*/ 2179865 h 2179866"/>
              <a:gd name="connsiteX5" fmla="*/ 193279 w 2179865"/>
              <a:gd name="connsiteY5" fmla="*/ 299247 h 2179866"/>
              <a:gd name="connsiteX6" fmla="*/ 0 w 2179865"/>
              <a:gd name="connsiteY6" fmla="*/ 289487 h 217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9865" h="2179866">
                <a:moveTo>
                  <a:pt x="0" y="0"/>
                </a:moveTo>
                <a:cubicBezTo>
                  <a:pt x="1203906" y="0"/>
                  <a:pt x="2179865" y="975959"/>
                  <a:pt x="2179865" y="2179865"/>
                </a:cubicBezTo>
                <a:lnTo>
                  <a:pt x="2179865" y="2179866"/>
                </a:lnTo>
                <a:lnTo>
                  <a:pt x="1890377" y="2179866"/>
                </a:lnTo>
                <a:lnTo>
                  <a:pt x="1890377" y="2179865"/>
                </a:lnTo>
                <a:cubicBezTo>
                  <a:pt x="1890377" y="1201090"/>
                  <a:pt x="1146514" y="396053"/>
                  <a:pt x="193279" y="299247"/>
                </a:cubicBezTo>
                <a:lnTo>
                  <a:pt x="0" y="289487"/>
                </a:lnTo>
                <a:close/>
              </a:path>
            </a:pathLst>
          </a:custGeom>
          <a:solidFill>
            <a:srgbClr val="C0A8F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Shape 30">
            <a:extLst>
              <a:ext uri="{FF2B5EF4-FFF2-40B4-BE49-F238E27FC236}">
                <a16:creationId xmlns:a16="http://schemas.microsoft.com/office/drawing/2014/main" id="{C7C8E99B-2E70-675E-233C-D458F746F72C}"/>
              </a:ext>
            </a:extLst>
          </p:cNvPr>
          <p:cNvSpPr/>
          <p:nvPr/>
        </p:nvSpPr>
        <p:spPr>
          <a:xfrm>
            <a:off x="1" y="5316908"/>
            <a:ext cx="1541090" cy="1541092"/>
          </a:xfrm>
          <a:custGeom>
            <a:avLst/>
            <a:gdLst>
              <a:gd name="connsiteX0" fmla="*/ 0 w 1541090"/>
              <a:gd name="connsiteY0" fmla="*/ 0 h 1541092"/>
              <a:gd name="connsiteX1" fmla="*/ 157567 w 1541090"/>
              <a:gd name="connsiteY1" fmla="*/ 7957 h 1541092"/>
              <a:gd name="connsiteX2" fmla="*/ 1541090 w 1541090"/>
              <a:gd name="connsiteY2" fmla="*/ 1541091 h 1541092"/>
              <a:gd name="connsiteX3" fmla="*/ 1541090 w 1541090"/>
              <a:gd name="connsiteY3" fmla="*/ 1541092 h 1541092"/>
              <a:gd name="connsiteX4" fmla="*/ 0 w 1541090"/>
              <a:gd name="connsiteY4" fmla="*/ 1541092 h 1541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1090" h="1541092">
                <a:moveTo>
                  <a:pt x="0" y="0"/>
                </a:moveTo>
                <a:lnTo>
                  <a:pt x="157567" y="7957"/>
                </a:lnTo>
                <a:cubicBezTo>
                  <a:pt x="934671" y="86876"/>
                  <a:pt x="1541090" y="743165"/>
                  <a:pt x="1541090" y="1541091"/>
                </a:cubicBezTo>
                <a:lnTo>
                  <a:pt x="1541090" y="1541092"/>
                </a:lnTo>
                <a:lnTo>
                  <a:pt x="0" y="1541092"/>
                </a:lnTo>
                <a:close/>
              </a:path>
            </a:pathLst>
          </a:custGeom>
          <a:solidFill>
            <a:srgbClr val="7730C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Rounded Corners 31">
            <a:extLst>
              <a:ext uri="{FF2B5EF4-FFF2-40B4-BE49-F238E27FC236}">
                <a16:creationId xmlns:a16="http://schemas.microsoft.com/office/drawing/2014/main" id="{70C083BF-F1C8-F841-E7D3-9931BB2D36AE}"/>
              </a:ext>
            </a:extLst>
          </p:cNvPr>
          <p:cNvSpPr/>
          <p:nvPr/>
        </p:nvSpPr>
        <p:spPr>
          <a:xfrm>
            <a:off x="1191453" y="6129817"/>
            <a:ext cx="1211444" cy="317262"/>
          </a:xfrm>
          <a:prstGeom prst="roundRect">
            <a:avLst>
              <a:gd name="adj" fmla="val 50000"/>
            </a:avLst>
          </a:prstGeom>
          <a:pattFill prst="dkUpDiag">
            <a:fgClr>
              <a:srgbClr val="7730CA"/>
            </a:fgClr>
            <a:bgClr>
              <a:srgbClr val="0B0328"/>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4" name="Straight Connector 33">
            <a:extLst>
              <a:ext uri="{FF2B5EF4-FFF2-40B4-BE49-F238E27FC236}">
                <a16:creationId xmlns:a16="http://schemas.microsoft.com/office/drawing/2014/main" id="{9ECDF5D7-2025-FDD9-4EBA-38D761813F2D}"/>
              </a:ext>
            </a:extLst>
          </p:cNvPr>
          <p:cNvCxnSpPr>
            <a:cxnSpLocks/>
          </p:cNvCxnSpPr>
          <p:nvPr/>
        </p:nvCxnSpPr>
        <p:spPr>
          <a:xfrm>
            <a:off x="2460770" y="6326124"/>
            <a:ext cx="7042045" cy="0"/>
          </a:xfrm>
          <a:prstGeom prst="line">
            <a:avLst/>
          </a:prstGeom>
          <a:ln w="19050" cap="rnd">
            <a:solidFill>
              <a:srgbClr val="C0A8FE"/>
            </a:solidFill>
            <a:prstDash val="lgDash"/>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4F8AFF19-BC0A-0DC8-1A07-F6BD627627E8}"/>
              </a:ext>
            </a:extLst>
          </p:cNvPr>
          <p:cNvSpPr txBox="1"/>
          <p:nvPr/>
        </p:nvSpPr>
        <p:spPr>
          <a:xfrm>
            <a:off x="3544877" y="2551382"/>
            <a:ext cx="6648277" cy="2126752"/>
          </a:xfrm>
          <a:prstGeom prst="rect">
            <a:avLst/>
          </a:prstGeom>
          <a:noFill/>
        </p:spPr>
        <p:txBody>
          <a:bodyPr wrap="none" lIns="0" tIns="0" rIns="0" bIns="0" rtlCol="0" anchor="ctr">
            <a:noAutofit/>
          </a:bodyPr>
          <a:lstStyle/>
          <a:p>
            <a:r>
              <a:rPr lang="en-US" sz="8000" b="1" i="1" dirty="0">
                <a:solidFill>
                  <a:srgbClr val="C0A8FE"/>
                </a:solidFill>
                <a:latin typeface="Algerian" panose="04020705040A02060702" pitchFamily="82" charset="0"/>
                <a:cs typeface="Arial" panose="020B0604020202020204" pitchFamily="34" charset="0"/>
              </a:rPr>
              <a:t>Thank you.</a:t>
            </a:r>
          </a:p>
        </p:txBody>
      </p:sp>
      <p:pic>
        <p:nvPicPr>
          <p:cNvPr id="10" name="Graphic 9" descr="Angel face with solid fill with solid fill">
            <a:extLst>
              <a:ext uri="{FF2B5EF4-FFF2-40B4-BE49-F238E27FC236}">
                <a16:creationId xmlns:a16="http://schemas.microsoft.com/office/drawing/2014/main" id="{6AE51DEC-98AA-24FB-7F8C-837A76AE10BA}"/>
              </a:ext>
            </a:extLst>
          </p:cNvPr>
          <p:cNvPicPr>
            <a:picLocks noChangeAspect="1"/>
          </p:cNvPicPr>
          <p:nvPr/>
        </p:nvPicPr>
        <p:blipFill>
          <a:blip r:embed="rId4">
            <a:lum bright="81000"/>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32554" y="4824093"/>
            <a:ext cx="1585889" cy="1585889"/>
          </a:xfrm>
          <a:prstGeom prst="rect">
            <a:avLst/>
          </a:prstGeom>
        </p:spPr>
      </p:pic>
    </p:spTree>
    <p:extLst>
      <p:ext uri="{BB962C8B-B14F-4D97-AF65-F5344CB8AC3E}">
        <p14:creationId xmlns:p14="http://schemas.microsoft.com/office/powerpoint/2010/main" val="70605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barn(inVertical)">
                                      <p:cBhvr>
                                        <p:cTn id="7"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9BBBC8-7493-2531-5E27-6020BB8FF80E}"/>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1" name="Freeform: Shape 20">
            <a:extLst>
              <a:ext uri="{FF2B5EF4-FFF2-40B4-BE49-F238E27FC236}">
                <a16:creationId xmlns:a16="http://schemas.microsoft.com/office/drawing/2014/main" id="{C8A8A307-5643-53DD-5E89-153020AEA738}"/>
              </a:ext>
            </a:extLst>
          </p:cNvPr>
          <p:cNvSpPr/>
          <p:nvPr/>
        </p:nvSpPr>
        <p:spPr>
          <a:xfrm>
            <a:off x="-22609" y="0"/>
            <a:ext cx="12192000" cy="6858000"/>
          </a:xfrm>
          <a:custGeom>
            <a:avLst/>
            <a:gdLst>
              <a:gd name="connsiteX0" fmla="*/ 12192000 w 12192000"/>
              <a:gd name="connsiteY0" fmla="*/ 2810757 h 6858000"/>
              <a:gd name="connsiteX1" fmla="*/ 12192000 w 12192000"/>
              <a:gd name="connsiteY1" fmla="*/ 6858000 h 6858000"/>
              <a:gd name="connsiteX2" fmla="*/ 9304104 w 12192000"/>
              <a:gd name="connsiteY2" fmla="*/ 6858000 h 6858000"/>
              <a:gd name="connsiteX3" fmla="*/ 0 w 12192000"/>
              <a:gd name="connsiteY3" fmla="*/ 0 h 6858000"/>
              <a:gd name="connsiteX4" fmla="*/ 12192000 w 12192000"/>
              <a:gd name="connsiteY4" fmla="*/ 0 h 6858000"/>
              <a:gd name="connsiteX5" fmla="*/ 12192000 w 12192000"/>
              <a:gd name="connsiteY5" fmla="*/ 799186 h 6858000"/>
              <a:gd name="connsiteX6" fmla="*/ 7868756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2192000" y="2810757"/>
                </a:moveTo>
                <a:lnTo>
                  <a:pt x="12192000" y="6858000"/>
                </a:lnTo>
                <a:lnTo>
                  <a:pt x="9304104" y="6858000"/>
                </a:lnTo>
                <a:close/>
                <a:moveTo>
                  <a:pt x="0" y="0"/>
                </a:moveTo>
                <a:lnTo>
                  <a:pt x="12192000" y="0"/>
                </a:lnTo>
                <a:lnTo>
                  <a:pt x="12192000" y="799186"/>
                </a:lnTo>
                <a:lnTo>
                  <a:pt x="7868756" y="6858000"/>
                </a:lnTo>
                <a:lnTo>
                  <a:pt x="0" y="6858000"/>
                </a:lnTo>
                <a:close/>
              </a:path>
            </a:pathLst>
          </a:custGeom>
          <a:solidFill>
            <a:srgbClr val="604A8B">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 name="Freeform: Shape 5">
            <a:extLst>
              <a:ext uri="{FF2B5EF4-FFF2-40B4-BE49-F238E27FC236}">
                <a16:creationId xmlns:a16="http://schemas.microsoft.com/office/drawing/2014/main" id="{E3C5C544-81C8-B1D9-7580-90A00720B9EF}"/>
              </a:ext>
            </a:extLst>
          </p:cNvPr>
          <p:cNvSpPr/>
          <p:nvPr/>
        </p:nvSpPr>
        <p:spPr>
          <a:xfrm rot="5400000">
            <a:off x="10419035" y="5085036"/>
            <a:ext cx="2374898" cy="1171031"/>
          </a:xfrm>
          <a:custGeom>
            <a:avLst/>
            <a:gdLst>
              <a:gd name="connsiteX0" fmla="*/ 0 w 2710830"/>
              <a:gd name="connsiteY0" fmla="*/ 0 h 1336675"/>
              <a:gd name="connsiteX1" fmla="*/ 2710830 w 2710830"/>
              <a:gd name="connsiteY1" fmla="*/ 0 h 1336675"/>
              <a:gd name="connsiteX2" fmla="*/ 2710830 w 2710830"/>
              <a:gd name="connsiteY2" fmla="*/ 1336675 h 1336675"/>
              <a:gd name="connsiteX3" fmla="*/ 1336675 w 2710830"/>
              <a:gd name="connsiteY3" fmla="*/ 1336675 h 1336675"/>
              <a:gd name="connsiteX4" fmla="*/ 0 w 2710830"/>
              <a:gd name="connsiteY4" fmla="*/ 0 h 133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0830" h="1336675">
                <a:moveTo>
                  <a:pt x="0" y="0"/>
                </a:moveTo>
                <a:lnTo>
                  <a:pt x="2710830" y="0"/>
                </a:lnTo>
                <a:lnTo>
                  <a:pt x="2710830" y="1336675"/>
                </a:lnTo>
                <a:lnTo>
                  <a:pt x="1336675" y="1336675"/>
                </a:lnTo>
                <a:cubicBezTo>
                  <a:pt x="598450" y="1336675"/>
                  <a:pt x="0" y="738225"/>
                  <a:pt x="0" y="0"/>
                </a:cubicBezTo>
                <a:close/>
              </a:path>
            </a:pathLst>
          </a:custGeom>
          <a:pattFill prst="dkUpDiag">
            <a:fgClr>
              <a:srgbClr val="C0A8FE"/>
            </a:fgClr>
            <a:bgClr>
              <a:srgbClr val="7730CA"/>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745C7C63-7A19-2B19-8ABF-6FC184BE3DFF}"/>
              </a:ext>
            </a:extLst>
          </p:cNvPr>
          <p:cNvSpPr/>
          <p:nvPr/>
        </p:nvSpPr>
        <p:spPr>
          <a:xfrm>
            <a:off x="11537713" y="5055071"/>
            <a:ext cx="666750" cy="1333500"/>
          </a:xfrm>
          <a:custGeom>
            <a:avLst/>
            <a:gdLst>
              <a:gd name="connsiteX0" fmla="*/ 666750 w 666750"/>
              <a:gd name="connsiteY0" fmla="*/ 0 h 1333500"/>
              <a:gd name="connsiteX1" fmla="*/ 666750 w 666750"/>
              <a:gd name="connsiteY1" fmla="*/ 152400 h 1333500"/>
              <a:gd name="connsiteX2" fmla="*/ 152400 w 666750"/>
              <a:gd name="connsiteY2" fmla="*/ 666750 h 1333500"/>
              <a:gd name="connsiteX3" fmla="*/ 666750 w 666750"/>
              <a:gd name="connsiteY3" fmla="*/ 1181100 h 1333500"/>
              <a:gd name="connsiteX4" fmla="*/ 666750 w 666750"/>
              <a:gd name="connsiteY4" fmla="*/ 1333500 h 1333500"/>
              <a:gd name="connsiteX5" fmla="*/ 0 w 666750"/>
              <a:gd name="connsiteY5" fmla="*/ 666750 h 1333500"/>
              <a:gd name="connsiteX6" fmla="*/ 666750 w 666750"/>
              <a:gd name="connsiteY6" fmla="*/ 0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0" h="1333500">
                <a:moveTo>
                  <a:pt x="666750" y="0"/>
                </a:moveTo>
                <a:lnTo>
                  <a:pt x="666750" y="152400"/>
                </a:lnTo>
                <a:cubicBezTo>
                  <a:pt x="382682" y="152400"/>
                  <a:pt x="152400" y="382682"/>
                  <a:pt x="152400" y="666750"/>
                </a:cubicBezTo>
                <a:cubicBezTo>
                  <a:pt x="152400" y="950818"/>
                  <a:pt x="382682" y="1181100"/>
                  <a:pt x="666750" y="1181100"/>
                </a:cubicBezTo>
                <a:lnTo>
                  <a:pt x="666750" y="1333500"/>
                </a:lnTo>
                <a:cubicBezTo>
                  <a:pt x="298514" y="1333500"/>
                  <a:pt x="0" y="1034986"/>
                  <a:pt x="0" y="666750"/>
                </a:cubicBezTo>
                <a:cubicBezTo>
                  <a:pt x="0" y="298514"/>
                  <a:pt x="298514" y="0"/>
                  <a:pt x="666750" y="0"/>
                </a:cubicBezTo>
                <a:close/>
              </a:path>
            </a:pathLst>
          </a:custGeom>
          <a:solidFill>
            <a:srgbClr val="0B032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2" name="Group 21">
            <a:extLst>
              <a:ext uri="{FF2B5EF4-FFF2-40B4-BE49-F238E27FC236}">
                <a16:creationId xmlns:a16="http://schemas.microsoft.com/office/drawing/2014/main" id="{B153E134-3A87-5B9B-5D29-B4C473F75F7E}"/>
              </a:ext>
            </a:extLst>
          </p:cNvPr>
          <p:cNvGrpSpPr/>
          <p:nvPr/>
        </p:nvGrpSpPr>
        <p:grpSpPr>
          <a:xfrm>
            <a:off x="9886871" y="5055071"/>
            <a:ext cx="1498325" cy="1802929"/>
            <a:chOff x="10010696" y="5055071"/>
            <a:chExt cx="1498325" cy="1802929"/>
          </a:xfrm>
        </p:grpSpPr>
        <p:sp>
          <p:nvSpPr>
            <p:cNvPr id="7" name="Freeform: Shape 6">
              <a:extLst>
                <a:ext uri="{FF2B5EF4-FFF2-40B4-BE49-F238E27FC236}">
                  <a16:creationId xmlns:a16="http://schemas.microsoft.com/office/drawing/2014/main" id="{64797C05-62E7-1A37-4CFE-78B139B2A1D7}"/>
                </a:ext>
              </a:extLst>
            </p:cNvPr>
            <p:cNvSpPr/>
            <p:nvPr/>
          </p:nvSpPr>
          <p:spPr>
            <a:xfrm>
              <a:off x="10395341" y="5715001"/>
              <a:ext cx="441796" cy="883592"/>
            </a:xfrm>
            <a:custGeom>
              <a:avLst/>
              <a:gdLst>
                <a:gd name="connsiteX0" fmla="*/ 717550 w 717550"/>
                <a:gd name="connsiteY0" fmla="*/ 0 h 1435100"/>
                <a:gd name="connsiteX1" fmla="*/ 717550 w 717550"/>
                <a:gd name="connsiteY1" fmla="*/ 1435100 h 1435100"/>
                <a:gd name="connsiteX2" fmla="*/ 0 w 717550"/>
                <a:gd name="connsiteY2" fmla="*/ 717550 h 1435100"/>
                <a:gd name="connsiteX3" fmla="*/ 717550 w 717550"/>
                <a:gd name="connsiteY3" fmla="*/ 0 h 1435100"/>
              </a:gdLst>
              <a:ahLst/>
              <a:cxnLst>
                <a:cxn ang="0">
                  <a:pos x="connsiteX0" y="connsiteY0"/>
                </a:cxn>
                <a:cxn ang="0">
                  <a:pos x="connsiteX1" y="connsiteY1"/>
                </a:cxn>
                <a:cxn ang="0">
                  <a:pos x="connsiteX2" y="connsiteY2"/>
                </a:cxn>
                <a:cxn ang="0">
                  <a:pos x="connsiteX3" y="connsiteY3"/>
                </a:cxn>
              </a:cxnLst>
              <a:rect l="l" t="t" r="r" b="b"/>
              <a:pathLst>
                <a:path w="717550" h="1435100">
                  <a:moveTo>
                    <a:pt x="717550" y="0"/>
                  </a:moveTo>
                  <a:lnTo>
                    <a:pt x="717550" y="1435100"/>
                  </a:lnTo>
                  <a:cubicBezTo>
                    <a:pt x="321258" y="1435100"/>
                    <a:pt x="0" y="1113842"/>
                    <a:pt x="0" y="717550"/>
                  </a:cubicBezTo>
                  <a:cubicBezTo>
                    <a:pt x="0" y="321258"/>
                    <a:pt x="321258" y="0"/>
                    <a:pt x="717550" y="0"/>
                  </a:cubicBezTo>
                  <a:close/>
                </a:path>
              </a:pathLst>
            </a:custGeom>
            <a:solidFill>
              <a:srgbClr val="C0A8F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Oval 7">
              <a:extLst>
                <a:ext uri="{FF2B5EF4-FFF2-40B4-BE49-F238E27FC236}">
                  <a16:creationId xmlns:a16="http://schemas.microsoft.com/office/drawing/2014/main" id="{996C77DD-F497-F678-77C8-37EB52E0A200}"/>
                </a:ext>
              </a:extLst>
            </p:cNvPr>
            <p:cNvSpPr/>
            <p:nvPr/>
          </p:nvSpPr>
          <p:spPr>
            <a:xfrm>
              <a:off x="10972075" y="5931845"/>
              <a:ext cx="354654" cy="354654"/>
            </a:xfrm>
            <a:prstGeom prst="ellipse">
              <a:avLst/>
            </a:prstGeom>
            <a:solidFill>
              <a:srgbClr val="7730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24E30903-B21D-7AA2-1CA5-054E3648D23D}"/>
                </a:ext>
              </a:extLst>
            </p:cNvPr>
            <p:cNvSpPr/>
            <p:nvPr/>
          </p:nvSpPr>
          <p:spPr>
            <a:xfrm>
              <a:off x="10238774" y="5476875"/>
              <a:ext cx="1270247" cy="632296"/>
            </a:xfrm>
            <a:custGeom>
              <a:avLst/>
              <a:gdLst>
                <a:gd name="connsiteX0" fmla="*/ 1625215 w 3250431"/>
                <a:gd name="connsiteY0" fmla="*/ 0 h 1617981"/>
                <a:gd name="connsiteX1" fmla="*/ 3242422 w 3250431"/>
                <a:gd name="connsiteY1" fmla="*/ 1459392 h 1617981"/>
                <a:gd name="connsiteX2" fmla="*/ 3250431 w 3250431"/>
                <a:gd name="connsiteY2" fmla="*/ 1617981 h 1617981"/>
                <a:gd name="connsiteX3" fmla="*/ 3225031 w 3250431"/>
                <a:gd name="connsiteY3" fmla="*/ 1617981 h 1617981"/>
                <a:gd name="connsiteX4" fmla="*/ 3217154 w 3250431"/>
                <a:gd name="connsiteY4" fmla="*/ 1461989 h 1617981"/>
                <a:gd name="connsiteX5" fmla="*/ 1625215 w 3250431"/>
                <a:gd name="connsiteY5" fmla="*/ 25400 h 1617981"/>
                <a:gd name="connsiteX6" fmla="*/ 33277 w 3250431"/>
                <a:gd name="connsiteY6" fmla="*/ 1461989 h 1617981"/>
                <a:gd name="connsiteX7" fmla="*/ 25400 w 3250431"/>
                <a:gd name="connsiteY7" fmla="*/ 1617981 h 1617981"/>
                <a:gd name="connsiteX8" fmla="*/ 0 w 3250431"/>
                <a:gd name="connsiteY8" fmla="*/ 1617981 h 1617981"/>
                <a:gd name="connsiteX9" fmla="*/ 8008 w 3250431"/>
                <a:gd name="connsiteY9" fmla="*/ 1459392 h 1617981"/>
                <a:gd name="connsiteX10" fmla="*/ 1625215 w 3250431"/>
                <a:gd name="connsiteY10" fmla="*/ 0 h 161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50431" h="1617981">
                  <a:moveTo>
                    <a:pt x="1625215" y="0"/>
                  </a:moveTo>
                  <a:cubicBezTo>
                    <a:pt x="2466897" y="0"/>
                    <a:pt x="3159176" y="639673"/>
                    <a:pt x="3242422" y="1459392"/>
                  </a:cubicBezTo>
                  <a:lnTo>
                    <a:pt x="3250431" y="1617981"/>
                  </a:lnTo>
                  <a:lnTo>
                    <a:pt x="3225031" y="1617981"/>
                  </a:lnTo>
                  <a:lnTo>
                    <a:pt x="3217154" y="1461989"/>
                  </a:lnTo>
                  <a:cubicBezTo>
                    <a:pt x="3135207" y="655079"/>
                    <a:pt x="2453746" y="25400"/>
                    <a:pt x="1625215" y="25400"/>
                  </a:cubicBezTo>
                  <a:cubicBezTo>
                    <a:pt x="796685" y="25400"/>
                    <a:pt x="115223" y="655079"/>
                    <a:pt x="33277" y="1461989"/>
                  </a:cubicBezTo>
                  <a:lnTo>
                    <a:pt x="25400" y="1617981"/>
                  </a:lnTo>
                  <a:lnTo>
                    <a:pt x="0" y="1617981"/>
                  </a:lnTo>
                  <a:lnTo>
                    <a:pt x="8008" y="1459392"/>
                  </a:lnTo>
                  <a:cubicBezTo>
                    <a:pt x="91255" y="639673"/>
                    <a:pt x="783533" y="0"/>
                    <a:pt x="16252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cxnSp>
          <p:nvCxnSpPr>
            <p:cNvPr id="18" name="Straight Connector 17">
              <a:extLst>
                <a:ext uri="{FF2B5EF4-FFF2-40B4-BE49-F238E27FC236}">
                  <a16:creationId xmlns:a16="http://schemas.microsoft.com/office/drawing/2014/main" id="{8B5B6CC0-B280-073B-13D1-0C8AE32B4A8B}"/>
                </a:ext>
              </a:extLst>
            </p:cNvPr>
            <p:cNvCxnSpPr>
              <a:cxnSpLocks/>
            </p:cNvCxnSpPr>
            <p:nvPr/>
          </p:nvCxnSpPr>
          <p:spPr>
            <a:xfrm flipH="1">
              <a:off x="10010696" y="5055071"/>
              <a:ext cx="1316033" cy="1802929"/>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24" name="Freeform: Shape 23">
            <a:extLst>
              <a:ext uri="{FF2B5EF4-FFF2-40B4-BE49-F238E27FC236}">
                <a16:creationId xmlns:a16="http://schemas.microsoft.com/office/drawing/2014/main" id="{432DFA7B-2716-7F93-5040-9609D389CF39}"/>
              </a:ext>
            </a:extLst>
          </p:cNvPr>
          <p:cNvSpPr/>
          <p:nvPr/>
        </p:nvSpPr>
        <p:spPr>
          <a:xfrm rot="5400000">
            <a:off x="-318976" y="694418"/>
            <a:ext cx="1270247" cy="632296"/>
          </a:xfrm>
          <a:custGeom>
            <a:avLst/>
            <a:gdLst>
              <a:gd name="connsiteX0" fmla="*/ 1625215 w 3250431"/>
              <a:gd name="connsiteY0" fmla="*/ 0 h 1617981"/>
              <a:gd name="connsiteX1" fmla="*/ 3242422 w 3250431"/>
              <a:gd name="connsiteY1" fmla="*/ 1459392 h 1617981"/>
              <a:gd name="connsiteX2" fmla="*/ 3250431 w 3250431"/>
              <a:gd name="connsiteY2" fmla="*/ 1617981 h 1617981"/>
              <a:gd name="connsiteX3" fmla="*/ 3225031 w 3250431"/>
              <a:gd name="connsiteY3" fmla="*/ 1617981 h 1617981"/>
              <a:gd name="connsiteX4" fmla="*/ 3217154 w 3250431"/>
              <a:gd name="connsiteY4" fmla="*/ 1461989 h 1617981"/>
              <a:gd name="connsiteX5" fmla="*/ 1625215 w 3250431"/>
              <a:gd name="connsiteY5" fmla="*/ 25400 h 1617981"/>
              <a:gd name="connsiteX6" fmla="*/ 33277 w 3250431"/>
              <a:gd name="connsiteY6" fmla="*/ 1461989 h 1617981"/>
              <a:gd name="connsiteX7" fmla="*/ 25400 w 3250431"/>
              <a:gd name="connsiteY7" fmla="*/ 1617981 h 1617981"/>
              <a:gd name="connsiteX8" fmla="*/ 0 w 3250431"/>
              <a:gd name="connsiteY8" fmla="*/ 1617981 h 1617981"/>
              <a:gd name="connsiteX9" fmla="*/ 8008 w 3250431"/>
              <a:gd name="connsiteY9" fmla="*/ 1459392 h 1617981"/>
              <a:gd name="connsiteX10" fmla="*/ 1625215 w 3250431"/>
              <a:gd name="connsiteY10" fmla="*/ 0 h 161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50431" h="1617981">
                <a:moveTo>
                  <a:pt x="1625215" y="0"/>
                </a:moveTo>
                <a:cubicBezTo>
                  <a:pt x="2466897" y="0"/>
                  <a:pt x="3159176" y="639673"/>
                  <a:pt x="3242422" y="1459392"/>
                </a:cubicBezTo>
                <a:lnTo>
                  <a:pt x="3250431" y="1617981"/>
                </a:lnTo>
                <a:lnTo>
                  <a:pt x="3225031" y="1617981"/>
                </a:lnTo>
                <a:lnTo>
                  <a:pt x="3217154" y="1461989"/>
                </a:lnTo>
                <a:cubicBezTo>
                  <a:pt x="3135207" y="655079"/>
                  <a:pt x="2453746" y="25400"/>
                  <a:pt x="1625215" y="25400"/>
                </a:cubicBezTo>
                <a:cubicBezTo>
                  <a:pt x="796685" y="25400"/>
                  <a:pt x="115223" y="655079"/>
                  <a:pt x="33277" y="1461989"/>
                </a:cubicBezTo>
                <a:lnTo>
                  <a:pt x="25400" y="1617981"/>
                </a:lnTo>
                <a:lnTo>
                  <a:pt x="0" y="1617981"/>
                </a:lnTo>
                <a:lnTo>
                  <a:pt x="8008" y="1459392"/>
                </a:lnTo>
                <a:cubicBezTo>
                  <a:pt x="91255" y="639673"/>
                  <a:pt x="783533" y="0"/>
                  <a:pt x="16252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8" name="Freeform: Shape 27">
            <a:extLst>
              <a:ext uri="{FF2B5EF4-FFF2-40B4-BE49-F238E27FC236}">
                <a16:creationId xmlns:a16="http://schemas.microsoft.com/office/drawing/2014/main" id="{B8FB1D60-6DEB-BA81-3583-C0931763B99F}"/>
              </a:ext>
            </a:extLst>
          </p:cNvPr>
          <p:cNvSpPr/>
          <p:nvPr/>
        </p:nvSpPr>
        <p:spPr>
          <a:xfrm>
            <a:off x="0" y="782740"/>
            <a:ext cx="856343" cy="455652"/>
          </a:xfrm>
          <a:custGeom>
            <a:avLst/>
            <a:gdLst>
              <a:gd name="connsiteX0" fmla="*/ 0 w 856343"/>
              <a:gd name="connsiteY0" fmla="*/ 0 h 455652"/>
              <a:gd name="connsiteX1" fmla="*/ 628517 w 856343"/>
              <a:gd name="connsiteY1" fmla="*/ 0 h 455652"/>
              <a:gd name="connsiteX2" fmla="*/ 856343 w 856343"/>
              <a:gd name="connsiteY2" fmla="*/ 227826 h 455652"/>
              <a:gd name="connsiteX3" fmla="*/ 628517 w 856343"/>
              <a:gd name="connsiteY3" fmla="*/ 455652 h 455652"/>
              <a:gd name="connsiteX4" fmla="*/ 0 w 856343"/>
              <a:gd name="connsiteY4" fmla="*/ 455652 h 455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343" h="455652">
                <a:moveTo>
                  <a:pt x="0" y="0"/>
                </a:moveTo>
                <a:lnTo>
                  <a:pt x="628517" y="0"/>
                </a:lnTo>
                <a:cubicBezTo>
                  <a:pt x="754342" y="0"/>
                  <a:pt x="856343" y="102001"/>
                  <a:pt x="856343" y="227826"/>
                </a:cubicBezTo>
                <a:cubicBezTo>
                  <a:pt x="856343" y="353651"/>
                  <a:pt x="754342" y="455652"/>
                  <a:pt x="628517" y="455652"/>
                </a:cubicBezTo>
                <a:lnTo>
                  <a:pt x="0" y="455652"/>
                </a:lnTo>
                <a:close/>
              </a:path>
            </a:pathLst>
          </a:custGeom>
          <a:solidFill>
            <a:srgbClr val="0B032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Rectangle: Rounded Corners 24">
            <a:extLst>
              <a:ext uri="{FF2B5EF4-FFF2-40B4-BE49-F238E27FC236}">
                <a16:creationId xmlns:a16="http://schemas.microsoft.com/office/drawing/2014/main" id="{3B600FB6-D534-3649-E935-3AA2CC6C02D9}"/>
              </a:ext>
            </a:extLst>
          </p:cNvPr>
          <p:cNvSpPr/>
          <p:nvPr/>
        </p:nvSpPr>
        <p:spPr>
          <a:xfrm>
            <a:off x="329083" y="950308"/>
            <a:ext cx="351507" cy="120517"/>
          </a:xfrm>
          <a:prstGeom prst="roundRect">
            <a:avLst>
              <a:gd name="adj" fmla="val 50000"/>
            </a:avLst>
          </a:prstGeom>
          <a:solidFill>
            <a:srgbClr val="7730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26581EFD-457D-BCBE-6FF0-5B45DADB2755}"/>
              </a:ext>
            </a:extLst>
          </p:cNvPr>
          <p:cNvSpPr txBox="1"/>
          <p:nvPr/>
        </p:nvSpPr>
        <p:spPr>
          <a:xfrm>
            <a:off x="1030427" y="625845"/>
            <a:ext cx="10862631" cy="769441"/>
          </a:xfrm>
          <a:prstGeom prst="rect">
            <a:avLst/>
          </a:prstGeom>
          <a:noFill/>
        </p:spPr>
        <p:txBody>
          <a:bodyPr wrap="square" rtlCol="0">
            <a:spAutoFit/>
          </a:bodyPr>
          <a:lstStyle/>
          <a:p>
            <a:r>
              <a:rPr lang="en-US" sz="4400" dirty="0">
                <a:solidFill>
                  <a:schemeClr val="tx1">
                    <a:lumMod val="95000"/>
                    <a:lumOff val="5000"/>
                  </a:schemeClr>
                </a:solidFill>
                <a:latin typeface="Algerian" panose="04020705040A02060702" pitchFamily="82" charset="0"/>
              </a:rPr>
              <a:t>PROBLEM STATEMENT/PROJECT TOPIC </a:t>
            </a:r>
            <a:r>
              <a:rPr lang="en-US" sz="4400" dirty="0">
                <a:latin typeface="Algerian" panose="04020705040A02060702" pitchFamily="82" charset="0"/>
              </a:rPr>
              <a:t>:</a:t>
            </a:r>
          </a:p>
        </p:txBody>
      </p:sp>
      <p:sp>
        <p:nvSpPr>
          <p:cNvPr id="5" name="TextBox 4">
            <a:extLst>
              <a:ext uri="{FF2B5EF4-FFF2-40B4-BE49-F238E27FC236}">
                <a16:creationId xmlns:a16="http://schemas.microsoft.com/office/drawing/2014/main" id="{33473E78-88B3-1B30-DEBB-359019DBC035}"/>
              </a:ext>
            </a:extLst>
          </p:cNvPr>
          <p:cNvSpPr txBox="1"/>
          <p:nvPr/>
        </p:nvSpPr>
        <p:spPr>
          <a:xfrm>
            <a:off x="-845508" y="3294839"/>
            <a:ext cx="10061452" cy="1938992"/>
          </a:xfrm>
          <a:prstGeom prst="rect">
            <a:avLst/>
          </a:prstGeom>
          <a:noFill/>
        </p:spPr>
        <p:txBody>
          <a:bodyPr wrap="square" rtlCol="0">
            <a:spAutoFit/>
          </a:bodyPr>
          <a:lstStyle/>
          <a:p>
            <a:pPr lvl="1" algn="ctr"/>
            <a:r>
              <a:rPr lang="en-US" sz="6000" dirty="0">
                <a:solidFill>
                  <a:srgbClr val="290717"/>
                </a:solidFill>
                <a:latin typeface="Castellar" panose="020A0402060406010301" pitchFamily="18" charset="0"/>
              </a:rPr>
              <a:t>HIDING MESSAGE IN AN IMAGE </a:t>
            </a:r>
          </a:p>
        </p:txBody>
      </p:sp>
      <p:pic>
        <p:nvPicPr>
          <p:cNvPr id="14" name="Picture 13">
            <a:extLst>
              <a:ext uri="{FF2B5EF4-FFF2-40B4-BE49-F238E27FC236}">
                <a16:creationId xmlns:a16="http://schemas.microsoft.com/office/drawing/2014/main" id="{0C1DB04D-F1B9-5883-A8FB-A3C63B254A25}"/>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6000" contrast="-39000"/>
                    </a14:imgEffect>
                  </a14:imgLayer>
                </a14:imgProps>
              </a:ext>
              <a:ext uri="{28A0092B-C50C-407E-A947-70E740481C1C}">
                <a14:useLocalDpi xmlns:a14="http://schemas.microsoft.com/office/drawing/2010/main" val="0"/>
              </a:ext>
            </a:extLst>
          </a:blip>
          <a:stretch>
            <a:fillRect/>
          </a:stretch>
        </p:blipFill>
        <p:spPr>
          <a:xfrm>
            <a:off x="9215944" y="1967255"/>
            <a:ext cx="2860596" cy="3170000"/>
          </a:xfrm>
          <a:prstGeom prst="rect">
            <a:avLst/>
          </a:prstGeom>
          <a:effectLst>
            <a:outerShdw blurRad="1079500" dir="21540000" sx="109000" sy="109000" algn="ctr" rotWithShape="0">
              <a:srgbClr val="000000">
                <a:alpha val="1000"/>
              </a:srgbClr>
            </a:outerShdw>
          </a:effectLst>
        </p:spPr>
      </p:pic>
      <p:sp>
        <p:nvSpPr>
          <p:cNvPr id="16" name="TextBox 15">
            <a:extLst>
              <a:ext uri="{FF2B5EF4-FFF2-40B4-BE49-F238E27FC236}">
                <a16:creationId xmlns:a16="http://schemas.microsoft.com/office/drawing/2014/main" id="{43AEFB1D-5842-BAA2-6944-344405AE06FC}"/>
              </a:ext>
            </a:extLst>
          </p:cNvPr>
          <p:cNvSpPr txBox="1"/>
          <p:nvPr/>
        </p:nvSpPr>
        <p:spPr>
          <a:xfrm>
            <a:off x="1405261" y="5457861"/>
            <a:ext cx="8142640" cy="707886"/>
          </a:xfrm>
          <a:prstGeom prst="rect">
            <a:avLst/>
          </a:prstGeom>
          <a:noFill/>
        </p:spPr>
        <p:txBody>
          <a:bodyPr wrap="square" rtlCol="0">
            <a:spAutoFit/>
          </a:bodyPr>
          <a:lstStyle/>
          <a:p>
            <a:r>
              <a:rPr lang="en-US" sz="4000" dirty="0">
                <a:latin typeface="Bell MT" panose="02020503060305020303" pitchFamily="18" charset="0"/>
              </a:rPr>
              <a:t>USING STEGANOGRAPHY</a:t>
            </a:r>
          </a:p>
        </p:txBody>
      </p:sp>
    </p:spTree>
    <p:extLst>
      <p:ext uri="{BB962C8B-B14F-4D97-AF65-F5344CB8AC3E}">
        <p14:creationId xmlns:p14="http://schemas.microsoft.com/office/powerpoint/2010/main" val="1505440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barn(outVertical)">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6">
                                            <p:txEl>
                                              <p:pRg st="0" end="0"/>
                                            </p:txEl>
                                          </p:spTgt>
                                        </p:tgtEl>
                                        <p:attrNameLst>
                                          <p:attrName>style.visibility</p:attrName>
                                        </p:attrNameLst>
                                      </p:cBhvr>
                                      <p:to>
                                        <p:strVal val="visible"/>
                                      </p:to>
                                    </p:set>
                                    <p:anim calcmode="lin" valueType="num">
                                      <p:cBhvr additive="base">
                                        <p:cTn id="17" dur="500" fill="hold"/>
                                        <p:tgtEl>
                                          <p:spTgt spid="16">
                                            <p:txEl>
                                              <p:pRg st="0" end="0"/>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16">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70D7D8-2B11-4986-828C-A3BD2E9DCA0D}"/>
              </a:ext>
            </a:extLst>
          </p:cNvPr>
          <p:cNvSpPr/>
          <p:nvPr/>
        </p:nvSpPr>
        <p:spPr>
          <a:xfrm>
            <a:off x="1140417" y="7440"/>
            <a:ext cx="10939406" cy="6850560"/>
          </a:xfrm>
          <a:prstGeom prst="rect">
            <a:avLst/>
          </a:prstGeom>
          <a:solidFill>
            <a:srgbClr val="DCEC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7DF8E707-5FA8-4A7A-8CC0-7E1D611210A1}"/>
              </a:ext>
            </a:extLst>
          </p:cNvPr>
          <p:cNvSpPr/>
          <p:nvPr/>
        </p:nvSpPr>
        <p:spPr>
          <a:xfrm>
            <a:off x="1754814" y="545664"/>
            <a:ext cx="3307591" cy="73866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b="1" dirty="0">
                <a:solidFill>
                  <a:srgbClr val="468DC3"/>
                </a:solidFill>
                <a:latin typeface="Segoe UI" panose="020B0502040204020203" pitchFamily="34" charset="0"/>
                <a:ea typeface="Open Sans" panose="020B0606030504020204" pitchFamily="34" charset="0"/>
                <a:cs typeface="Segoe UI" panose="020B0502040204020203" pitchFamily="34" charset="0"/>
              </a:rPr>
              <a:t>AGENDA :</a:t>
            </a:r>
            <a:endParaRPr kumimoji="0" lang="en-US" sz="4800" b="1" i="0" u="none" strike="noStrike" kern="1200" cap="none" spc="0" normalizeH="0" baseline="0" noProof="0" dirty="0">
              <a:ln>
                <a:noFill/>
              </a:ln>
              <a:solidFill>
                <a:srgbClr val="468DC3"/>
              </a:solidFill>
              <a:effectLst/>
              <a:uLnTx/>
              <a:uFillTx/>
              <a:latin typeface="Segoe UI" panose="020B0502040204020203" pitchFamily="34" charset="0"/>
              <a:ea typeface="Open Sans" panose="020B0606030504020204" pitchFamily="34" charset="0"/>
              <a:cs typeface="Segoe UI" panose="020B0502040204020203" pitchFamily="34" charset="0"/>
            </a:endParaRPr>
          </a:p>
        </p:txBody>
      </p:sp>
      <p:sp>
        <p:nvSpPr>
          <p:cNvPr id="2" name="Footer Placeholder 7">
            <a:extLst>
              <a:ext uri="{FF2B5EF4-FFF2-40B4-BE49-F238E27FC236}">
                <a16:creationId xmlns:a16="http://schemas.microsoft.com/office/drawing/2014/main" id="{28E0B39D-6C3A-51F3-4E97-A06E3F91DEA5}"/>
              </a:ext>
            </a:extLst>
          </p:cNvPr>
          <p:cNvSpPr txBox="1"/>
          <p:nvPr/>
        </p:nvSpPr>
        <p:spPr>
          <a:xfrm rot="16200004">
            <a:off x="-2255453" y="1882188"/>
            <a:ext cx="5678762" cy="1033078"/>
          </a:xfrm>
          <a:prstGeom prst="rect">
            <a:avLst/>
          </a:prstGeom>
          <a:noFill/>
          <a:ln>
            <a:noFill/>
          </a:ln>
        </p:spPr>
        <p:txBody>
          <a:bodyPr vert="horz" wrap="square" lIns="91440" tIns="45720" rIns="91440" bIns="45720" anchor="ctr" anchorCtr="1"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000" b="1" i="0" u="none" strike="noStrike" kern="1200" cap="all" spc="100" baseline="0" dirty="0">
                <a:solidFill>
                  <a:schemeClr val="bg2">
                    <a:lumMod val="10000"/>
                  </a:schemeClr>
                </a:solidFill>
                <a:uFillTx/>
                <a:latin typeface="Univers"/>
              </a:rPr>
              <a:t>Hiding a message in an image</a:t>
            </a:r>
          </a:p>
        </p:txBody>
      </p:sp>
      <p:sp>
        <p:nvSpPr>
          <p:cNvPr id="3" name="TextBox 2">
            <a:extLst>
              <a:ext uri="{FF2B5EF4-FFF2-40B4-BE49-F238E27FC236}">
                <a16:creationId xmlns:a16="http://schemas.microsoft.com/office/drawing/2014/main" id="{74E75D77-0826-3176-24B7-F8CA666D46D7}"/>
              </a:ext>
            </a:extLst>
          </p:cNvPr>
          <p:cNvSpPr txBox="1"/>
          <p:nvPr/>
        </p:nvSpPr>
        <p:spPr>
          <a:xfrm rot="16200000">
            <a:off x="-2322013" y="3892877"/>
            <a:ext cx="5678763" cy="461665"/>
          </a:xfrm>
          <a:prstGeom prst="rect">
            <a:avLst/>
          </a:prstGeom>
          <a:noFill/>
        </p:spPr>
        <p:txBody>
          <a:bodyPr wrap="square" rtlCol="0">
            <a:spAutoFit/>
          </a:bodyPr>
          <a:lstStyle/>
          <a:p>
            <a:r>
              <a:rPr lang="en-US" sz="1200" dirty="0"/>
              <a:t>__________________________</a:t>
            </a:r>
          </a:p>
          <a:p>
            <a:r>
              <a:rPr lang="en-US" sz="1200" dirty="0"/>
              <a:t>__________________________</a:t>
            </a:r>
          </a:p>
        </p:txBody>
      </p:sp>
      <p:sp>
        <p:nvSpPr>
          <p:cNvPr id="31" name="TextBox 30">
            <a:extLst>
              <a:ext uri="{FF2B5EF4-FFF2-40B4-BE49-F238E27FC236}">
                <a16:creationId xmlns:a16="http://schemas.microsoft.com/office/drawing/2014/main" id="{832F760B-E0DD-91F2-119B-0B3CB13711EB}"/>
              </a:ext>
            </a:extLst>
          </p:cNvPr>
          <p:cNvSpPr txBox="1"/>
          <p:nvPr/>
        </p:nvSpPr>
        <p:spPr>
          <a:xfrm>
            <a:off x="1630496" y="1140190"/>
            <a:ext cx="3899971" cy="646331"/>
          </a:xfrm>
          <a:prstGeom prst="rect">
            <a:avLst/>
          </a:prstGeom>
          <a:noFill/>
        </p:spPr>
        <p:txBody>
          <a:bodyPr wrap="square" rtlCol="0">
            <a:spAutoFit/>
          </a:bodyPr>
          <a:lstStyle/>
          <a:p>
            <a:r>
              <a:rPr lang="en-US" dirty="0"/>
              <a:t>________________________________________________________________</a:t>
            </a:r>
          </a:p>
        </p:txBody>
      </p:sp>
      <p:sp>
        <p:nvSpPr>
          <p:cNvPr id="32" name="Oval 31">
            <a:extLst>
              <a:ext uri="{FF2B5EF4-FFF2-40B4-BE49-F238E27FC236}">
                <a16:creationId xmlns:a16="http://schemas.microsoft.com/office/drawing/2014/main" id="{D690B83B-5C3D-5E45-76E7-AA9B27001FDB}"/>
              </a:ext>
            </a:extLst>
          </p:cNvPr>
          <p:cNvSpPr/>
          <p:nvPr/>
        </p:nvSpPr>
        <p:spPr>
          <a:xfrm>
            <a:off x="4832042" y="975214"/>
            <a:ext cx="1059734" cy="976281"/>
          </a:xfrm>
          <a:prstGeom prst="ellipse">
            <a:avLst/>
          </a:prstGeom>
          <a:solidFill>
            <a:srgbClr val="7730CA">
              <a:alpha val="4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7" name="Diagram 36">
            <a:extLst>
              <a:ext uri="{FF2B5EF4-FFF2-40B4-BE49-F238E27FC236}">
                <a16:creationId xmlns:a16="http://schemas.microsoft.com/office/drawing/2014/main" id="{9DB0C89C-BC6E-3BE9-B708-1F42A4D2B31D}"/>
              </a:ext>
            </a:extLst>
          </p:cNvPr>
          <p:cNvGraphicFramePr/>
          <p:nvPr>
            <p:extLst>
              <p:ext uri="{D42A27DB-BD31-4B8C-83A1-F6EECF244321}">
                <p14:modId xmlns:p14="http://schemas.microsoft.com/office/powerpoint/2010/main" val="2497695649"/>
              </p:ext>
            </p:extLst>
          </p:nvPr>
        </p:nvGraphicFramePr>
        <p:xfrm>
          <a:off x="1668595" y="2093204"/>
          <a:ext cx="9382987" cy="45078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3495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1000"/>
                                        <p:tgtEl>
                                          <p:spTgt spid="37"/>
                                        </p:tgtEl>
                                      </p:cBhvr>
                                    </p:animEffect>
                                    <p:anim calcmode="lin" valueType="num">
                                      <p:cBhvr>
                                        <p:cTn id="8" dur="1000" fill="hold"/>
                                        <p:tgtEl>
                                          <p:spTgt spid="37"/>
                                        </p:tgtEl>
                                        <p:attrNameLst>
                                          <p:attrName>ppt_x</p:attrName>
                                        </p:attrNameLst>
                                      </p:cBhvr>
                                      <p:tavLst>
                                        <p:tav tm="0">
                                          <p:val>
                                            <p:strVal val="#ppt_x"/>
                                          </p:val>
                                        </p:tav>
                                        <p:tav tm="100000">
                                          <p:val>
                                            <p:strVal val="#ppt_x"/>
                                          </p:val>
                                        </p:tav>
                                      </p:tavLst>
                                    </p:anim>
                                    <p:anim calcmode="lin" valueType="num">
                                      <p:cBhvr>
                                        <p:cTn id="9"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7" grpId="0">
        <p:bldAsOne/>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F8F002-52F1-3FE9-186D-6A4EEBEF2A1F}"/>
              </a:ext>
            </a:extLst>
          </p:cNvPr>
          <p:cNvSpPr>
            <a:spLocks noGrp="1"/>
          </p:cNvSpPr>
          <p:nvPr>
            <p:ph type="sldNum" sz="quarter" idx="12"/>
          </p:nvPr>
        </p:nvSpPr>
        <p:spPr/>
        <p:txBody>
          <a:bodyPr/>
          <a:lstStyle/>
          <a:p>
            <a:fld id="{3DB09A56-2F1D-4318-9240-BF2B90CE364C}" type="slidenum">
              <a:rPr lang="en-US" smtClean="0"/>
              <a:t>4</a:t>
            </a:fld>
            <a:endParaRPr lang="en-US"/>
          </a:p>
        </p:txBody>
      </p:sp>
      <p:sp>
        <p:nvSpPr>
          <p:cNvPr id="3" name="Freeform: Shape 2">
            <a:extLst>
              <a:ext uri="{FF2B5EF4-FFF2-40B4-BE49-F238E27FC236}">
                <a16:creationId xmlns:a16="http://schemas.microsoft.com/office/drawing/2014/main" id="{17349F40-5812-06EF-64EA-27E49A3F5EBA}"/>
              </a:ext>
            </a:extLst>
          </p:cNvPr>
          <p:cNvSpPr/>
          <p:nvPr/>
        </p:nvSpPr>
        <p:spPr>
          <a:xfrm>
            <a:off x="0" y="0"/>
            <a:ext cx="12192000" cy="6858000"/>
          </a:xfrm>
          <a:custGeom>
            <a:avLst/>
            <a:gdLst>
              <a:gd name="connsiteX0" fmla="*/ 10976704 w 12192000"/>
              <a:gd name="connsiteY0" fmla="*/ 0 h 6858000"/>
              <a:gd name="connsiteX1" fmla="*/ 12192000 w 12192000"/>
              <a:gd name="connsiteY1" fmla="*/ 0 h 6858000"/>
              <a:gd name="connsiteX2" fmla="*/ 12192000 w 12192000"/>
              <a:gd name="connsiteY2" fmla="*/ 1235671 h 6858000"/>
              <a:gd name="connsiteX3" fmla="*/ 0 w 12192000"/>
              <a:gd name="connsiteY3" fmla="*/ 0 h 6858000"/>
              <a:gd name="connsiteX4" fmla="*/ 9694165 w 12192000"/>
              <a:gd name="connsiteY4" fmla="*/ 0 h 6858000"/>
              <a:gd name="connsiteX5" fmla="*/ 12192000 w 12192000"/>
              <a:gd name="connsiteY5" fmla="*/ 2539713 h 6858000"/>
              <a:gd name="connsiteX6" fmla="*/ 12192000 w 12192000"/>
              <a:gd name="connsiteY6" fmla="*/ 6858000 h 6858000"/>
              <a:gd name="connsiteX7" fmla="*/ 0 w 12192000"/>
              <a:gd name="connsiteY7" fmla="*/ 6858000 h 6858000"/>
              <a:gd name="connsiteX8" fmla="*/ 0 w 12192000"/>
              <a:gd name="connsiteY8" fmla="*/ 5740878 h 6858000"/>
              <a:gd name="connsiteX9" fmla="*/ 1600754 w 12192000"/>
              <a:gd name="connsiteY9" fmla="*/ 5740878 h 6858000"/>
              <a:gd name="connsiteX10" fmla="*/ 0 w 12192000"/>
              <a:gd name="connsiteY10" fmla="*/ 41401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0">
                <a:moveTo>
                  <a:pt x="10976704" y="0"/>
                </a:moveTo>
                <a:lnTo>
                  <a:pt x="12192000" y="0"/>
                </a:lnTo>
                <a:lnTo>
                  <a:pt x="12192000" y="1235671"/>
                </a:lnTo>
                <a:close/>
                <a:moveTo>
                  <a:pt x="0" y="0"/>
                </a:moveTo>
                <a:lnTo>
                  <a:pt x="9694165" y="0"/>
                </a:lnTo>
                <a:lnTo>
                  <a:pt x="12192000" y="2539713"/>
                </a:lnTo>
                <a:lnTo>
                  <a:pt x="12192000" y="6858000"/>
                </a:lnTo>
                <a:lnTo>
                  <a:pt x="0" y="6858000"/>
                </a:lnTo>
                <a:lnTo>
                  <a:pt x="0" y="5740878"/>
                </a:lnTo>
                <a:lnTo>
                  <a:pt x="1600754" y="5740878"/>
                </a:lnTo>
                <a:lnTo>
                  <a:pt x="0" y="4140124"/>
                </a:lnTo>
                <a:close/>
              </a:path>
            </a:pathLst>
          </a:custGeom>
          <a:solidFill>
            <a:srgbClr val="C0A8FE">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4" name="TextBox 3">
            <a:extLst>
              <a:ext uri="{FF2B5EF4-FFF2-40B4-BE49-F238E27FC236}">
                <a16:creationId xmlns:a16="http://schemas.microsoft.com/office/drawing/2014/main" id="{F30DA211-3EC1-C33E-3B83-61325E9F4CA0}"/>
              </a:ext>
            </a:extLst>
          </p:cNvPr>
          <p:cNvSpPr txBox="1"/>
          <p:nvPr/>
        </p:nvSpPr>
        <p:spPr>
          <a:xfrm>
            <a:off x="627961" y="446182"/>
            <a:ext cx="4362680" cy="769441"/>
          </a:xfrm>
          <a:prstGeom prst="rect">
            <a:avLst/>
          </a:prstGeom>
          <a:noFill/>
        </p:spPr>
        <p:txBody>
          <a:bodyPr wrap="square" rtlCol="0">
            <a:spAutoFit/>
          </a:bodyPr>
          <a:lstStyle/>
          <a:p>
            <a:r>
              <a:rPr lang="en-GB" sz="4400" b="0" dirty="0">
                <a:latin typeface="Algerian" panose="04020705040A02060702" pitchFamily="82" charset="0"/>
              </a:rPr>
              <a:t>Objectives : </a:t>
            </a:r>
            <a:endParaRPr lang="en-US" sz="4400" dirty="0">
              <a:latin typeface="Algerian" panose="04020705040A02060702" pitchFamily="82" charset="0"/>
            </a:endParaRPr>
          </a:p>
        </p:txBody>
      </p:sp>
      <p:graphicFrame>
        <p:nvGraphicFramePr>
          <p:cNvPr id="7" name="Diagram 6">
            <a:extLst>
              <a:ext uri="{FF2B5EF4-FFF2-40B4-BE49-F238E27FC236}">
                <a16:creationId xmlns:a16="http://schemas.microsoft.com/office/drawing/2014/main" id="{95AE77E9-04D1-8B02-D476-984412E31A36}"/>
              </a:ext>
            </a:extLst>
          </p:cNvPr>
          <p:cNvGraphicFramePr/>
          <p:nvPr>
            <p:extLst>
              <p:ext uri="{D42A27DB-BD31-4B8C-83A1-F6EECF244321}">
                <p14:modId xmlns:p14="http://schemas.microsoft.com/office/powerpoint/2010/main" val="1936198794"/>
              </p:ext>
            </p:extLst>
          </p:nvPr>
        </p:nvGraphicFramePr>
        <p:xfrm>
          <a:off x="627961" y="1498294"/>
          <a:ext cx="10587211" cy="45851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2CFFD8CD-B5FF-B8F4-4EE3-3B857AF1A8D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86108" y="202259"/>
            <a:ext cx="1817478" cy="1817478"/>
          </a:xfrm>
          <a:prstGeom prst="rect">
            <a:avLst/>
          </a:prstGeom>
        </p:spPr>
      </p:pic>
    </p:spTree>
    <p:extLst>
      <p:ext uri="{BB962C8B-B14F-4D97-AF65-F5344CB8AC3E}">
        <p14:creationId xmlns:p14="http://schemas.microsoft.com/office/powerpoint/2010/main" val="35885520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Rectangle 105">
            <a:extLst>
              <a:ext uri="{FF2B5EF4-FFF2-40B4-BE49-F238E27FC236}">
                <a16:creationId xmlns:a16="http://schemas.microsoft.com/office/drawing/2014/main" id="{9DE1C6FC-75C9-D839-CF1F-285135B9C23C}"/>
              </a:ext>
            </a:extLst>
          </p:cNvPr>
          <p:cNvSpPr/>
          <p:nvPr/>
        </p:nvSpPr>
        <p:spPr>
          <a:xfrm>
            <a:off x="43869" y="0"/>
            <a:ext cx="12192000" cy="6858000"/>
          </a:xfrm>
          <a:prstGeom prst="rect">
            <a:avLst/>
          </a:prstGeom>
          <a:gradFill>
            <a:gsLst>
              <a:gs pos="0">
                <a:srgbClr val="C0A8FE">
                  <a:alpha val="90000"/>
                </a:srgbClr>
              </a:gs>
              <a:gs pos="28000">
                <a:srgbClr val="7030A0"/>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1" i="0" u="none" strike="noStrike" kern="1200" cap="all" spc="100" baseline="0" dirty="0">
              <a:solidFill>
                <a:schemeClr val="bg2">
                  <a:lumMod val="10000"/>
                </a:schemeClr>
              </a:solidFill>
              <a:uFillTx/>
              <a:latin typeface="Univers"/>
            </a:endParaRPr>
          </a:p>
        </p:txBody>
      </p:sp>
      <p:sp>
        <p:nvSpPr>
          <p:cNvPr id="112" name="TextBox 111">
            <a:extLst>
              <a:ext uri="{FF2B5EF4-FFF2-40B4-BE49-F238E27FC236}">
                <a16:creationId xmlns:a16="http://schemas.microsoft.com/office/drawing/2014/main" id="{05BA335C-3AE5-A832-F524-FC971DCAECB5}"/>
              </a:ext>
            </a:extLst>
          </p:cNvPr>
          <p:cNvSpPr txBox="1"/>
          <p:nvPr/>
        </p:nvSpPr>
        <p:spPr>
          <a:xfrm rot="16200000">
            <a:off x="-4890444" y="1235592"/>
            <a:ext cx="10536932" cy="707886"/>
          </a:xfrm>
          <a:prstGeom prst="rect">
            <a:avLst/>
          </a:prstGeom>
          <a:noFill/>
        </p:spPr>
        <p:txBody>
          <a:bodyPr wrap="square" rtlCol="0">
            <a:spAutoFit/>
          </a:bodyPr>
          <a:lstStyle/>
          <a:p>
            <a:r>
              <a:rPr lang="en-US" sz="1200" dirty="0"/>
              <a:t>__________________________</a:t>
            </a:r>
          </a:p>
          <a:p>
            <a:r>
              <a:rPr lang="en-US" sz="2800" dirty="0">
                <a:solidFill>
                  <a:schemeClr val="bg1">
                    <a:lumMod val="95000"/>
                  </a:schemeClr>
                </a:solidFill>
              </a:rPr>
              <a:t>__________________________</a:t>
            </a:r>
          </a:p>
        </p:txBody>
      </p:sp>
      <p:sp>
        <p:nvSpPr>
          <p:cNvPr id="115" name="TextBox 114">
            <a:extLst>
              <a:ext uri="{FF2B5EF4-FFF2-40B4-BE49-F238E27FC236}">
                <a16:creationId xmlns:a16="http://schemas.microsoft.com/office/drawing/2014/main" id="{4F0184E1-6674-760F-4D38-6A2D5854F1A4}"/>
              </a:ext>
            </a:extLst>
          </p:cNvPr>
          <p:cNvSpPr txBox="1"/>
          <p:nvPr/>
        </p:nvSpPr>
        <p:spPr>
          <a:xfrm rot="16200000">
            <a:off x="-2247964" y="2526266"/>
            <a:ext cx="4953000" cy="369332"/>
          </a:xfrm>
          <a:prstGeom prst="rect">
            <a:avLst/>
          </a:prstGeom>
          <a:noFill/>
        </p:spPr>
        <p:txBody>
          <a:bodyPr wrap="square" rtlCol="0">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800" b="1" i="0" u="none" strike="noStrike" kern="1200" cap="all" spc="100" baseline="0" dirty="0">
                <a:solidFill>
                  <a:schemeClr val="bg1">
                    <a:lumMod val="95000"/>
                  </a:schemeClr>
                </a:solidFill>
                <a:uFillTx/>
                <a:latin typeface="Univers"/>
              </a:rPr>
              <a:t>Hiding a message in an image</a:t>
            </a:r>
          </a:p>
        </p:txBody>
      </p:sp>
      <p:sp>
        <p:nvSpPr>
          <p:cNvPr id="118" name="TextBox 117">
            <a:extLst>
              <a:ext uri="{FF2B5EF4-FFF2-40B4-BE49-F238E27FC236}">
                <a16:creationId xmlns:a16="http://schemas.microsoft.com/office/drawing/2014/main" id="{34384DEA-845C-539F-3E35-987F26AF1FD7}"/>
              </a:ext>
            </a:extLst>
          </p:cNvPr>
          <p:cNvSpPr txBox="1"/>
          <p:nvPr/>
        </p:nvSpPr>
        <p:spPr>
          <a:xfrm>
            <a:off x="432994" y="228124"/>
            <a:ext cx="10985500" cy="769441"/>
          </a:xfrm>
          <a:prstGeom prst="rect">
            <a:avLst/>
          </a:prstGeom>
          <a:noFill/>
        </p:spPr>
        <p:txBody>
          <a:bodyPr wrap="square" rtlCol="0">
            <a:spAutoFit/>
          </a:bodyPr>
          <a:lstStyle/>
          <a:p>
            <a:r>
              <a:rPr lang="en-US" sz="4400" dirty="0">
                <a:solidFill>
                  <a:schemeClr val="accent3">
                    <a:lumMod val="60000"/>
                    <a:lumOff val="40000"/>
                  </a:schemeClr>
                </a:solidFill>
                <a:latin typeface="Algerian" panose="04020705040A02060702" pitchFamily="82" charset="0"/>
              </a:rPr>
              <a:t>Introduction to Steganography:</a:t>
            </a:r>
            <a:endParaRPr lang="en-US" dirty="0">
              <a:solidFill>
                <a:schemeClr val="accent3">
                  <a:lumMod val="60000"/>
                  <a:lumOff val="40000"/>
                </a:schemeClr>
              </a:solidFill>
            </a:endParaRPr>
          </a:p>
        </p:txBody>
      </p:sp>
      <p:sp>
        <p:nvSpPr>
          <p:cNvPr id="120" name="TextBox 119">
            <a:extLst>
              <a:ext uri="{FF2B5EF4-FFF2-40B4-BE49-F238E27FC236}">
                <a16:creationId xmlns:a16="http://schemas.microsoft.com/office/drawing/2014/main" id="{33CDCAC9-1687-3638-01B2-BCB6E317A42B}"/>
              </a:ext>
            </a:extLst>
          </p:cNvPr>
          <p:cNvSpPr txBox="1"/>
          <p:nvPr/>
        </p:nvSpPr>
        <p:spPr>
          <a:xfrm>
            <a:off x="1189242" y="1225689"/>
            <a:ext cx="10085942" cy="5632311"/>
          </a:xfrm>
          <a:prstGeom prst="rect">
            <a:avLst/>
          </a:prstGeom>
          <a:noFill/>
        </p:spPr>
        <p:txBody>
          <a:bodyPr wrap="square" rtlCol="0">
            <a:spAutoFit/>
          </a:bodyPr>
          <a:lstStyle/>
          <a:p>
            <a:r>
              <a:rPr lang="en-US" sz="2400" dirty="0">
                <a:solidFill>
                  <a:schemeClr val="bg1"/>
                </a:solidFill>
                <a:latin typeface="Bahnschrift" panose="020B0502040204020203" pitchFamily="34" charset="0"/>
              </a:rPr>
              <a:t>Definition: Steganography is the ancient art, now prevalent in the digital age, of covertly embedding information within seemingly innocuous carriers.</a:t>
            </a:r>
          </a:p>
          <a:p>
            <a:r>
              <a:rPr lang="en-US" sz="2400" dirty="0">
                <a:solidFill>
                  <a:schemeClr val="bg1"/>
                </a:solidFill>
                <a:latin typeface="Bahnschrift" panose="020B0502040204020203" pitchFamily="34" charset="0"/>
              </a:rPr>
              <a:t>Etymology: The term "steganography" originates from the Greek words "</a:t>
            </a:r>
            <a:r>
              <a:rPr lang="en-US" sz="2400" dirty="0" err="1">
                <a:solidFill>
                  <a:schemeClr val="bg1"/>
                </a:solidFill>
                <a:latin typeface="Bahnschrift" panose="020B0502040204020203" pitchFamily="34" charset="0"/>
              </a:rPr>
              <a:t>steganos</a:t>
            </a:r>
            <a:r>
              <a:rPr lang="en-US" sz="2400" dirty="0">
                <a:solidFill>
                  <a:schemeClr val="bg1"/>
                </a:solidFill>
                <a:latin typeface="Bahnschrift" panose="020B0502040204020203" pitchFamily="34" charset="0"/>
              </a:rPr>
              <a:t>" (covered) and "</a:t>
            </a:r>
            <a:r>
              <a:rPr lang="en-US" sz="2400" dirty="0" err="1">
                <a:solidFill>
                  <a:schemeClr val="bg1"/>
                </a:solidFill>
                <a:latin typeface="Bahnschrift" panose="020B0502040204020203" pitchFamily="34" charset="0"/>
              </a:rPr>
              <a:t>graphy</a:t>
            </a:r>
            <a:r>
              <a:rPr lang="en-US" sz="2400" dirty="0">
                <a:solidFill>
                  <a:schemeClr val="bg1"/>
                </a:solidFill>
                <a:latin typeface="Bahnschrift" panose="020B0502040204020203" pitchFamily="34" charset="0"/>
              </a:rPr>
              <a:t>" (writing).</a:t>
            </a:r>
          </a:p>
          <a:p>
            <a:r>
              <a:rPr lang="en-US" sz="2400" dirty="0">
                <a:solidFill>
                  <a:schemeClr val="bg1"/>
                </a:solidFill>
                <a:latin typeface="Bahnschrift" panose="020B0502040204020203" pitchFamily="34" charset="0"/>
              </a:rPr>
              <a:t>Objective: Unlike cryptography, which focuses on securing content through encryption, steganography aims to hide the very existence of a message.</a:t>
            </a:r>
          </a:p>
          <a:p>
            <a:r>
              <a:rPr lang="en-US" sz="2400" dirty="0">
                <a:solidFill>
                  <a:schemeClr val="bg1"/>
                </a:solidFill>
                <a:latin typeface="Bahnschrift" panose="020B0502040204020203" pitchFamily="34" charset="0"/>
              </a:rPr>
              <a:t>Digital Realm: In the digital domain, steganography often involves concealing data within images, audio files, or text.</a:t>
            </a:r>
          </a:p>
          <a:p>
            <a:r>
              <a:rPr lang="en-US" sz="2400" dirty="0">
                <a:solidFill>
                  <a:schemeClr val="bg1"/>
                </a:solidFill>
                <a:latin typeface="Bahnschrift" panose="020B0502040204020203" pitchFamily="34" charset="0"/>
              </a:rPr>
              <a:t>Applications: Steganography finds applications in secure communication, digital watermarking, and copyright protection.</a:t>
            </a:r>
          </a:p>
          <a:p>
            <a:r>
              <a:rPr lang="en-US" sz="2400" dirty="0">
                <a:solidFill>
                  <a:schemeClr val="bg1"/>
                </a:solidFill>
                <a:latin typeface="Bahnschrift" panose="020B0502040204020203" pitchFamily="34" charset="0"/>
              </a:rPr>
              <a:t>Evolution in Security: As an integral part of information security, steganography contributes to the ever-evolving landscape of securing digital communication.</a:t>
            </a:r>
          </a:p>
        </p:txBody>
      </p:sp>
      <p:pic>
        <p:nvPicPr>
          <p:cNvPr id="125" name="Picture 124">
            <a:extLst>
              <a:ext uri="{FF2B5EF4-FFF2-40B4-BE49-F238E27FC236}">
                <a16:creationId xmlns:a16="http://schemas.microsoft.com/office/drawing/2014/main" id="{E8ABC3DC-88C3-3561-F1A2-9643A76315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98508" y="4425922"/>
            <a:ext cx="1504736" cy="1555778"/>
          </a:xfrm>
          <a:prstGeom prst="rect">
            <a:avLst/>
          </a:prstGeom>
        </p:spPr>
      </p:pic>
    </p:spTree>
    <p:extLst>
      <p:ext uri="{BB962C8B-B14F-4D97-AF65-F5344CB8AC3E}">
        <p14:creationId xmlns:p14="http://schemas.microsoft.com/office/powerpoint/2010/main" val="152072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18"/>
                                        </p:tgtEl>
                                        <p:attrNameLst>
                                          <p:attrName>style.visibility</p:attrName>
                                        </p:attrNameLst>
                                      </p:cBhvr>
                                      <p:to>
                                        <p:strVal val="visible"/>
                                      </p:to>
                                    </p:set>
                                    <p:animEffect transition="in" filter="barn(inVertical)">
                                      <p:cBhvr>
                                        <p:cTn id="12" dur="500"/>
                                        <p:tgtEl>
                                          <p:spTgt spid="1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p:bldP spid="11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432DFA7B-2716-7F93-5040-9609D389CF39}"/>
              </a:ext>
            </a:extLst>
          </p:cNvPr>
          <p:cNvSpPr/>
          <p:nvPr/>
        </p:nvSpPr>
        <p:spPr>
          <a:xfrm rot="5400000">
            <a:off x="-318976" y="694418"/>
            <a:ext cx="1270247" cy="632296"/>
          </a:xfrm>
          <a:custGeom>
            <a:avLst/>
            <a:gdLst>
              <a:gd name="connsiteX0" fmla="*/ 1625215 w 3250431"/>
              <a:gd name="connsiteY0" fmla="*/ 0 h 1617981"/>
              <a:gd name="connsiteX1" fmla="*/ 3242422 w 3250431"/>
              <a:gd name="connsiteY1" fmla="*/ 1459392 h 1617981"/>
              <a:gd name="connsiteX2" fmla="*/ 3250431 w 3250431"/>
              <a:gd name="connsiteY2" fmla="*/ 1617981 h 1617981"/>
              <a:gd name="connsiteX3" fmla="*/ 3225031 w 3250431"/>
              <a:gd name="connsiteY3" fmla="*/ 1617981 h 1617981"/>
              <a:gd name="connsiteX4" fmla="*/ 3217154 w 3250431"/>
              <a:gd name="connsiteY4" fmla="*/ 1461989 h 1617981"/>
              <a:gd name="connsiteX5" fmla="*/ 1625215 w 3250431"/>
              <a:gd name="connsiteY5" fmla="*/ 25400 h 1617981"/>
              <a:gd name="connsiteX6" fmla="*/ 33277 w 3250431"/>
              <a:gd name="connsiteY6" fmla="*/ 1461989 h 1617981"/>
              <a:gd name="connsiteX7" fmla="*/ 25400 w 3250431"/>
              <a:gd name="connsiteY7" fmla="*/ 1617981 h 1617981"/>
              <a:gd name="connsiteX8" fmla="*/ 0 w 3250431"/>
              <a:gd name="connsiteY8" fmla="*/ 1617981 h 1617981"/>
              <a:gd name="connsiteX9" fmla="*/ 8008 w 3250431"/>
              <a:gd name="connsiteY9" fmla="*/ 1459392 h 1617981"/>
              <a:gd name="connsiteX10" fmla="*/ 1625215 w 3250431"/>
              <a:gd name="connsiteY10" fmla="*/ 0 h 161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50431" h="1617981">
                <a:moveTo>
                  <a:pt x="1625215" y="0"/>
                </a:moveTo>
                <a:cubicBezTo>
                  <a:pt x="2466897" y="0"/>
                  <a:pt x="3159176" y="639673"/>
                  <a:pt x="3242422" y="1459392"/>
                </a:cubicBezTo>
                <a:lnTo>
                  <a:pt x="3250431" y="1617981"/>
                </a:lnTo>
                <a:lnTo>
                  <a:pt x="3225031" y="1617981"/>
                </a:lnTo>
                <a:lnTo>
                  <a:pt x="3217154" y="1461989"/>
                </a:lnTo>
                <a:cubicBezTo>
                  <a:pt x="3135207" y="655079"/>
                  <a:pt x="2453746" y="25400"/>
                  <a:pt x="1625215" y="25400"/>
                </a:cubicBezTo>
                <a:cubicBezTo>
                  <a:pt x="796685" y="25400"/>
                  <a:pt x="115223" y="655079"/>
                  <a:pt x="33277" y="1461989"/>
                </a:cubicBezTo>
                <a:lnTo>
                  <a:pt x="25400" y="1617981"/>
                </a:lnTo>
                <a:lnTo>
                  <a:pt x="0" y="1617981"/>
                </a:lnTo>
                <a:lnTo>
                  <a:pt x="8008" y="1459392"/>
                </a:lnTo>
                <a:cubicBezTo>
                  <a:pt x="91255" y="639673"/>
                  <a:pt x="783533" y="0"/>
                  <a:pt x="16252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4" name="TextBox 3">
            <a:extLst>
              <a:ext uri="{FF2B5EF4-FFF2-40B4-BE49-F238E27FC236}">
                <a16:creationId xmlns:a16="http://schemas.microsoft.com/office/drawing/2014/main" id="{DEBCC5FC-DC22-1029-9BA5-6145A2E0DC9A}"/>
              </a:ext>
            </a:extLst>
          </p:cNvPr>
          <p:cNvSpPr txBox="1"/>
          <p:nvPr/>
        </p:nvSpPr>
        <p:spPr>
          <a:xfrm rot="16200000">
            <a:off x="-4867002" y="1266369"/>
            <a:ext cx="10536932" cy="646331"/>
          </a:xfrm>
          <a:prstGeom prst="rect">
            <a:avLst/>
          </a:prstGeom>
          <a:noFill/>
        </p:spPr>
        <p:txBody>
          <a:bodyPr wrap="square" rtlCol="0">
            <a:spAutoFit/>
          </a:bodyPr>
          <a:lstStyle/>
          <a:p>
            <a:r>
              <a:rPr lang="en-US" sz="1200" dirty="0"/>
              <a:t>__________________________</a:t>
            </a:r>
          </a:p>
          <a:p>
            <a:r>
              <a:rPr lang="en-US" sz="2400" dirty="0">
                <a:solidFill>
                  <a:schemeClr val="bg1">
                    <a:lumMod val="95000"/>
                  </a:schemeClr>
                </a:solidFill>
              </a:rPr>
              <a:t>__________________________</a:t>
            </a:r>
          </a:p>
        </p:txBody>
      </p:sp>
      <p:sp>
        <p:nvSpPr>
          <p:cNvPr id="5" name="TextBox 4">
            <a:extLst>
              <a:ext uri="{FF2B5EF4-FFF2-40B4-BE49-F238E27FC236}">
                <a16:creationId xmlns:a16="http://schemas.microsoft.com/office/drawing/2014/main" id="{88D43B34-6FE7-26DE-528D-5E8A7E785121}"/>
              </a:ext>
            </a:extLst>
          </p:cNvPr>
          <p:cNvSpPr txBox="1"/>
          <p:nvPr/>
        </p:nvSpPr>
        <p:spPr>
          <a:xfrm rot="16200000">
            <a:off x="-1939504" y="2168867"/>
            <a:ext cx="4653866" cy="646331"/>
          </a:xfrm>
          <a:prstGeom prst="rect">
            <a:avLst/>
          </a:prstGeom>
          <a:noFill/>
        </p:spPr>
        <p:txBody>
          <a:bodyPr wrap="square" rtlCol="0">
            <a:spAutoFit/>
          </a:bodyPr>
          <a:lstStyle/>
          <a:p>
            <a:r>
              <a:rPr lang="en-US" sz="1800" b="1" i="0" u="none" strike="noStrike" kern="1200" cap="all" spc="100" baseline="0" dirty="0">
                <a:solidFill>
                  <a:schemeClr val="bg2">
                    <a:lumMod val="10000"/>
                  </a:schemeClr>
                </a:solidFill>
                <a:uFillTx/>
                <a:latin typeface="Univers"/>
              </a:rPr>
              <a:t>Hiding a message in an image</a:t>
            </a:r>
          </a:p>
          <a:p>
            <a:endParaRPr lang="en-US" dirty="0"/>
          </a:p>
        </p:txBody>
      </p:sp>
      <p:sp>
        <p:nvSpPr>
          <p:cNvPr id="11" name="Rectangle 10">
            <a:extLst>
              <a:ext uri="{FF2B5EF4-FFF2-40B4-BE49-F238E27FC236}">
                <a16:creationId xmlns:a16="http://schemas.microsoft.com/office/drawing/2014/main" id="{BD2B558C-93BC-37E7-6EDC-EBA33F7CF383}"/>
              </a:ext>
            </a:extLst>
          </p:cNvPr>
          <p:cNvSpPr/>
          <p:nvPr/>
        </p:nvSpPr>
        <p:spPr>
          <a:xfrm rot="10800000">
            <a:off x="632296" y="0"/>
            <a:ext cx="11559703" cy="6858000"/>
          </a:xfrm>
          <a:prstGeom prst="rect">
            <a:avLst/>
          </a:prstGeom>
          <a:gradFill>
            <a:gsLst>
              <a:gs pos="0">
                <a:srgbClr val="C0A8FE">
                  <a:alpha val="90000"/>
                </a:srgbClr>
              </a:gs>
              <a:gs pos="28000">
                <a:srgbClr val="7030A0"/>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1" i="0" u="none" strike="noStrike" kern="1200" cap="all" spc="100" baseline="0" dirty="0">
              <a:solidFill>
                <a:schemeClr val="bg2">
                  <a:lumMod val="10000"/>
                </a:schemeClr>
              </a:solidFill>
              <a:uFillTx/>
              <a:latin typeface="Univers"/>
            </a:endParaRPr>
          </a:p>
        </p:txBody>
      </p:sp>
      <p:sp>
        <p:nvSpPr>
          <p:cNvPr id="13" name="TextBox 12">
            <a:extLst>
              <a:ext uri="{FF2B5EF4-FFF2-40B4-BE49-F238E27FC236}">
                <a16:creationId xmlns:a16="http://schemas.microsoft.com/office/drawing/2014/main" id="{3ED76D33-1348-B58F-52BA-A77DD103FB8D}"/>
              </a:ext>
            </a:extLst>
          </p:cNvPr>
          <p:cNvSpPr txBox="1"/>
          <p:nvPr/>
        </p:nvSpPr>
        <p:spPr>
          <a:xfrm>
            <a:off x="964138" y="375442"/>
            <a:ext cx="10877179" cy="1846659"/>
          </a:xfrm>
          <a:prstGeom prst="rect">
            <a:avLst/>
          </a:prstGeom>
          <a:noFill/>
        </p:spPr>
        <p:txBody>
          <a:bodyPr wrap="square" rtlCol="0">
            <a:spAutoFit/>
          </a:bodyPr>
          <a:lstStyle/>
          <a:p>
            <a:r>
              <a:rPr lang="en-US" sz="4800" dirty="0">
                <a:latin typeface="Algerian" panose="04020705040A02060702" pitchFamily="82" charset="0"/>
              </a:rPr>
              <a:t>Why Should We Use Steganography :</a:t>
            </a:r>
          </a:p>
          <a:p>
            <a:endParaRPr lang="en-US" dirty="0"/>
          </a:p>
        </p:txBody>
      </p:sp>
      <p:sp>
        <p:nvSpPr>
          <p:cNvPr id="16" name="Rectangle 15">
            <a:extLst>
              <a:ext uri="{FF2B5EF4-FFF2-40B4-BE49-F238E27FC236}">
                <a16:creationId xmlns:a16="http://schemas.microsoft.com/office/drawing/2014/main" id="{0663407B-6C19-00D9-EACF-80D9628A2521}"/>
              </a:ext>
            </a:extLst>
          </p:cNvPr>
          <p:cNvSpPr/>
          <p:nvPr/>
        </p:nvSpPr>
        <p:spPr>
          <a:xfrm>
            <a:off x="1885950" y="2597543"/>
            <a:ext cx="9955367" cy="404455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b="1" dirty="0">
                <a:ln w="22225">
                  <a:solidFill>
                    <a:schemeClr val="accent2"/>
                  </a:solidFill>
                  <a:prstDash val="solid"/>
                </a:ln>
                <a:solidFill>
                  <a:schemeClr val="accent2">
                    <a:lumMod val="40000"/>
                    <a:lumOff val="60000"/>
                  </a:schemeClr>
                </a:solidFill>
              </a:rPr>
              <a:t> </a:t>
            </a:r>
          </a:p>
        </p:txBody>
      </p:sp>
      <p:sp>
        <p:nvSpPr>
          <p:cNvPr id="23" name="TextBox 22">
            <a:extLst>
              <a:ext uri="{FF2B5EF4-FFF2-40B4-BE49-F238E27FC236}">
                <a16:creationId xmlns:a16="http://schemas.microsoft.com/office/drawing/2014/main" id="{6C50CCCA-9226-15EE-5FC8-F2B3421B6508}"/>
              </a:ext>
            </a:extLst>
          </p:cNvPr>
          <p:cNvSpPr txBox="1"/>
          <p:nvPr/>
        </p:nvSpPr>
        <p:spPr>
          <a:xfrm>
            <a:off x="4762500" y="3619500"/>
            <a:ext cx="6540500" cy="369332"/>
          </a:xfrm>
          <a:prstGeom prst="rect">
            <a:avLst/>
          </a:prstGeom>
          <a:noFill/>
        </p:spPr>
        <p:txBody>
          <a:bodyPr wrap="square" rtlCol="0">
            <a:spAutoFit/>
          </a:bodyPr>
          <a:lstStyle/>
          <a:p>
            <a:r>
              <a:rPr lang="en-US" dirty="0"/>
              <a:t> </a:t>
            </a:r>
          </a:p>
        </p:txBody>
      </p:sp>
      <p:sp>
        <p:nvSpPr>
          <p:cNvPr id="30" name="TextBox 29">
            <a:extLst>
              <a:ext uri="{FF2B5EF4-FFF2-40B4-BE49-F238E27FC236}">
                <a16:creationId xmlns:a16="http://schemas.microsoft.com/office/drawing/2014/main" id="{74680EE3-4345-984D-5B42-F1EB27543392}"/>
              </a:ext>
            </a:extLst>
          </p:cNvPr>
          <p:cNvSpPr txBox="1"/>
          <p:nvPr/>
        </p:nvSpPr>
        <p:spPr>
          <a:xfrm>
            <a:off x="2177650" y="2440932"/>
            <a:ext cx="9098915" cy="5078313"/>
          </a:xfrm>
          <a:prstGeom prst="rect">
            <a:avLst/>
          </a:prstGeom>
          <a:noFill/>
        </p:spPr>
        <p:txBody>
          <a:bodyPr wrap="square" rtlCol="0">
            <a:spAutoFit/>
          </a:bodyPr>
          <a:lstStyle/>
          <a:p>
            <a:endParaRPr lang="en-US" dirty="0"/>
          </a:p>
          <a:p>
            <a:r>
              <a:rPr lang="en-US" sz="2400" dirty="0"/>
              <a:t>Steganography is like a secret language for messages. It hides information in regular things like pictures or sounds. This sneaky method keeps messages safe because it doesn't attract attention like normal passwords do. It's helpful when you want to send secret stuff without others knowing. Also, in pictures and sounds, steganography helps protect them from being used without permission. It's like a secret code within a code. Even if the first code (encryption) is broken, the secret code (steganography) keeps things safe. This trick is useful for the military too, helping them talk quietly in a noisy world.</a:t>
            </a:r>
          </a:p>
          <a:p>
            <a:endParaRPr lang="en-US" dirty="0"/>
          </a:p>
          <a:p>
            <a:endParaRPr lang="en-US" dirty="0"/>
          </a:p>
          <a:p>
            <a:endParaRPr lang="en-US" dirty="0"/>
          </a:p>
          <a:p>
            <a:endParaRPr lang="en-US" dirty="0"/>
          </a:p>
          <a:p>
            <a:endParaRPr lang="en-US" dirty="0"/>
          </a:p>
        </p:txBody>
      </p:sp>
      <p:pic>
        <p:nvPicPr>
          <p:cNvPr id="32" name="Picture 31">
            <a:extLst>
              <a:ext uri="{FF2B5EF4-FFF2-40B4-BE49-F238E27FC236}">
                <a16:creationId xmlns:a16="http://schemas.microsoft.com/office/drawing/2014/main" id="{33AA687F-EBF7-1630-1DB2-1B73BCF4E3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46154" y="25960"/>
            <a:ext cx="2447003" cy="2493277"/>
          </a:xfrm>
          <a:prstGeom prst="rect">
            <a:avLst/>
          </a:prstGeom>
          <a:effectLst>
            <a:glow rad="127000">
              <a:schemeClr val="accent1">
                <a:alpha val="26000"/>
              </a:schemeClr>
            </a:glow>
            <a:outerShdw blurRad="1270000" dist="2540000" dir="5400000" sx="1000" sy="1000" algn="ctr" rotWithShape="0">
              <a:srgbClr val="000000">
                <a:alpha val="0"/>
              </a:srgbClr>
            </a:outerShdw>
          </a:effectLst>
        </p:spPr>
      </p:pic>
    </p:spTree>
    <p:extLst>
      <p:ext uri="{BB962C8B-B14F-4D97-AF65-F5344CB8AC3E}">
        <p14:creationId xmlns:p14="http://schemas.microsoft.com/office/powerpoint/2010/main" val="1652801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barn(inVertical)">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indoor, wall&#10;&#10;Description automatically generated">
            <a:extLst>
              <a:ext uri="{FF2B5EF4-FFF2-40B4-BE49-F238E27FC236}">
                <a16:creationId xmlns:a16="http://schemas.microsoft.com/office/drawing/2014/main" id="{4971E780-EB7A-1CB1-DA28-C2F7039A7FF4}"/>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5" name="Freeform: Shape 24">
            <a:extLst>
              <a:ext uri="{FF2B5EF4-FFF2-40B4-BE49-F238E27FC236}">
                <a16:creationId xmlns:a16="http://schemas.microsoft.com/office/drawing/2014/main" id="{E8817FA3-9D4B-540C-1B55-9B3E83D0F446}"/>
              </a:ext>
            </a:extLst>
          </p:cNvPr>
          <p:cNvSpPr/>
          <p:nvPr/>
        </p:nvSpPr>
        <p:spPr>
          <a:xfrm>
            <a:off x="-47196" y="-6133"/>
            <a:ext cx="12192000" cy="6858000"/>
          </a:xfrm>
          <a:custGeom>
            <a:avLst/>
            <a:gdLst>
              <a:gd name="connsiteX0" fmla="*/ 10976704 w 12192000"/>
              <a:gd name="connsiteY0" fmla="*/ 0 h 6858000"/>
              <a:gd name="connsiteX1" fmla="*/ 12192000 w 12192000"/>
              <a:gd name="connsiteY1" fmla="*/ 0 h 6858000"/>
              <a:gd name="connsiteX2" fmla="*/ 12192000 w 12192000"/>
              <a:gd name="connsiteY2" fmla="*/ 1235671 h 6858000"/>
              <a:gd name="connsiteX3" fmla="*/ 0 w 12192000"/>
              <a:gd name="connsiteY3" fmla="*/ 0 h 6858000"/>
              <a:gd name="connsiteX4" fmla="*/ 9694165 w 12192000"/>
              <a:gd name="connsiteY4" fmla="*/ 0 h 6858000"/>
              <a:gd name="connsiteX5" fmla="*/ 12192000 w 12192000"/>
              <a:gd name="connsiteY5" fmla="*/ 2539713 h 6858000"/>
              <a:gd name="connsiteX6" fmla="*/ 12192000 w 12192000"/>
              <a:gd name="connsiteY6" fmla="*/ 6858000 h 6858000"/>
              <a:gd name="connsiteX7" fmla="*/ 0 w 12192000"/>
              <a:gd name="connsiteY7" fmla="*/ 6858000 h 6858000"/>
              <a:gd name="connsiteX8" fmla="*/ 0 w 12192000"/>
              <a:gd name="connsiteY8" fmla="*/ 5740878 h 6858000"/>
              <a:gd name="connsiteX9" fmla="*/ 1600754 w 12192000"/>
              <a:gd name="connsiteY9" fmla="*/ 5740878 h 6858000"/>
              <a:gd name="connsiteX10" fmla="*/ 0 w 12192000"/>
              <a:gd name="connsiteY10" fmla="*/ 41401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0">
                <a:moveTo>
                  <a:pt x="10976704" y="0"/>
                </a:moveTo>
                <a:lnTo>
                  <a:pt x="12192000" y="0"/>
                </a:lnTo>
                <a:lnTo>
                  <a:pt x="12192000" y="1235671"/>
                </a:lnTo>
                <a:close/>
                <a:moveTo>
                  <a:pt x="0" y="0"/>
                </a:moveTo>
                <a:lnTo>
                  <a:pt x="9694165" y="0"/>
                </a:lnTo>
                <a:lnTo>
                  <a:pt x="12192000" y="2539713"/>
                </a:lnTo>
                <a:lnTo>
                  <a:pt x="12192000" y="6858000"/>
                </a:lnTo>
                <a:lnTo>
                  <a:pt x="0" y="6858000"/>
                </a:lnTo>
                <a:lnTo>
                  <a:pt x="0" y="5740878"/>
                </a:lnTo>
                <a:lnTo>
                  <a:pt x="1600754" y="5740878"/>
                </a:lnTo>
                <a:lnTo>
                  <a:pt x="0" y="4140124"/>
                </a:lnTo>
                <a:close/>
              </a:path>
            </a:pathLst>
          </a:custGeom>
          <a:solidFill>
            <a:srgbClr val="C0A8FE">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US" dirty="0"/>
              <a:t>___________________________________________________________</a:t>
            </a:r>
          </a:p>
        </p:txBody>
      </p:sp>
      <p:sp>
        <p:nvSpPr>
          <p:cNvPr id="7" name="Oval 6">
            <a:extLst>
              <a:ext uri="{FF2B5EF4-FFF2-40B4-BE49-F238E27FC236}">
                <a16:creationId xmlns:a16="http://schemas.microsoft.com/office/drawing/2014/main" id="{CA1145FA-3528-C898-C7F5-DBD1305D9484}"/>
              </a:ext>
            </a:extLst>
          </p:cNvPr>
          <p:cNvSpPr/>
          <p:nvPr/>
        </p:nvSpPr>
        <p:spPr>
          <a:xfrm>
            <a:off x="1232187" y="4773408"/>
            <a:ext cx="354654" cy="354654"/>
          </a:xfrm>
          <a:prstGeom prst="ellipse">
            <a:avLst/>
          </a:prstGeom>
          <a:solidFill>
            <a:srgbClr val="7730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7">
            <a:extLst>
              <a:ext uri="{FF2B5EF4-FFF2-40B4-BE49-F238E27FC236}">
                <a16:creationId xmlns:a16="http://schemas.microsoft.com/office/drawing/2014/main" id="{1C16642E-5B22-F5EF-2732-4D526B5178FB}"/>
              </a:ext>
            </a:extLst>
          </p:cNvPr>
          <p:cNvSpPr/>
          <p:nvPr/>
        </p:nvSpPr>
        <p:spPr>
          <a:xfrm>
            <a:off x="296711" y="3832652"/>
            <a:ext cx="617689" cy="307470"/>
          </a:xfrm>
          <a:custGeom>
            <a:avLst/>
            <a:gdLst>
              <a:gd name="connsiteX0" fmla="*/ 1625215 w 3250431"/>
              <a:gd name="connsiteY0" fmla="*/ 0 h 1617981"/>
              <a:gd name="connsiteX1" fmla="*/ 3242422 w 3250431"/>
              <a:gd name="connsiteY1" fmla="*/ 1459392 h 1617981"/>
              <a:gd name="connsiteX2" fmla="*/ 3250431 w 3250431"/>
              <a:gd name="connsiteY2" fmla="*/ 1617981 h 1617981"/>
              <a:gd name="connsiteX3" fmla="*/ 3225031 w 3250431"/>
              <a:gd name="connsiteY3" fmla="*/ 1617981 h 1617981"/>
              <a:gd name="connsiteX4" fmla="*/ 3217154 w 3250431"/>
              <a:gd name="connsiteY4" fmla="*/ 1461989 h 1617981"/>
              <a:gd name="connsiteX5" fmla="*/ 1625215 w 3250431"/>
              <a:gd name="connsiteY5" fmla="*/ 25400 h 1617981"/>
              <a:gd name="connsiteX6" fmla="*/ 33277 w 3250431"/>
              <a:gd name="connsiteY6" fmla="*/ 1461989 h 1617981"/>
              <a:gd name="connsiteX7" fmla="*/ 25400 w 3250431"/>
              <a:gd name="connsiteY7" fmla="*/ 1617981 h 1617981"/>
              <a:gd name="connsiteX8" fmla="*/ 0 w 3250431"/>
              <a:gd name="connsiteY8" fmla="*/ 1617981 h 1617981"/>
              <a:gd name="connsiteX9" fmla="*/ 8008 w 3250431"/>
              <a:gd name="connsiteY9" fmla="*/ 1459392 h 1617981"/>
              <a:gd name="connsiteX10" fmla="*/ 1625215 w 3250431"/>
              <a:gd name="connsiteY10" fmla="*/ 0 h 161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50431" h="1617981">
                <a:moveTo>
                  <a:pt x="1625215" y="0"/>
                </a:moveTo>
                <a:cubicBezTo>
                  <a:pt x="2466897" y="0"/>
                  <a:pt x="3159176" y="639673"/>
                  <a:pt x="3242422" y="1459392"/>
                </a:cubicBezTo>
                <a:lnTo>
                  <a:pt x="3250431" y="1617981"/>
                </a:lnTo>
                <a:lnTo>
                  <a:pt x="3225031" y="1617981"/>
                </a:lnTo>
                <a:lnTo>
                  <a:pt x="3217154" y="1461989"/>
                </a:lnTo>
                <a:cubicBezTo>
                  <a:pt x="3135207" y="655079"/>
                  <a:pt x="2453746" y="25400"/>
                  <a:pt x="1625215" y="25400"/>
                </a:cubicBezTo>
                <a:cubicBezTo>
                  <a:pt x="796685" y="25400"/>
                  <a:pt x="115223" y="655079"/>
                  <a:pt x="33277" y="1461989"/>
                </a:cubicBezTo>
                <a:lnTo>
                  <a:pt x="25400" y="1617981"/>
                </a:lnTo>
                <a:lnTo>
                  <a:pt x="0" y="1617981"/>
                </a:lnTo>
                <a:lnTo>
                  <a:pt x="8008" y="1459392"/>
                </a:lnTo>
                <a:cubicBezTo>
                  <a:pt x="91255" y="639673"/>
                  <a:pt x="783533" y="0"/>
                  <a:pt x="1625215"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Freeform: Shape 9">
            <a:extLst>
              <a:ext uri="{FF2B5EF4-FFF2-40B4-BE49-F238E27FC236}">
                <a16:creationId xmlns:a16="http://schemas.microsoft.com/office/drawing/2014/main" id="{8434A15C-5626-D668-6141-A7CBFEBB5436}"/>
              </a:ext>
            </a:extLst>
          </p:cNvPr>
          <p:cNvSpPr/>
          <p:nvPr/>
        </p:nvSpPr>
        <p:spPr>
          <a:xfrm rot="16200000">
            <a:off x="558800" y="5181600"/>
            <a:ext cx="1117600" cy="2235200"/>
          </a:xfrm>
          <a:custGeom>
            <a:avLst/>
            <a:gdLst>
              <a:gd name="connsiteX0" fmla="*/ 717550 w 717550"/>
              <a:gd name="connsiteY0" fmla="*/ 0 h 1435100"/>
              <a:gd name="connsiteX1" fmla="*/ 717550 w 717550"/>
              <a:gd name="connsiteY1" fmla="*/ 1435100 h 1435100"/>
              <a:gd name="connsiteX2" fmla="*/ 0 w 717550"/>
              <a:gd name="connsiteY2" fmla="*/ 717550 h 1435100"/>
              <a:gd name="connsiteX3" fmla="*/ 717550 w 717550"/>
              <a:gd name="connsiteY3" fmla="*/ 0 h 1435100"/>
            </a:gdLst>
            <a:ahLst/>
            <a:cxnLst>
              <a:cxn ang="0">
                <a:pos x="connsiteX0" y="connsiteY0"/>
              </a:cxn>
              <a:cxn ang="0">
                <a:pos x="connsiteX1" y="connsiteY1"/>
              </a:cxn>
              <a:cxn ang="0">
                <a:pos x="connsiteX2" y="connsiteY2"/>
              </a:cxn>
              <a:cxn ang="0">
                <a:pos x="connsiteX3" y="connsiteY3"/>
              </a:cxn>
            </a:cxnLst>
            <a:rect l="l" t="t" r="r" b="b"/>
            <a:pathLst>
              <a:path w="717550" h="1435100">
                <a:moveTo>
                  <a:pt x="717550" y="0"/>
                </a:moveTo>
                <a:lnTo>
                  <a:pt x="717550" y="1435100"/>
                </a:lnTo>
                <a:cubicBezTo>
                  <a:pt x="321258" y="1435100"/>
                  <a:pt x="0" y="1113842"/>
                  <a:pt x="0" y="717550"/>
                </a:cubicBezTo>
                <a:cubicBezTo>
                  <a:pt x="0" y="321258"/>
                  <a:pt x="321258" y="0"/>
                  <a:pt x="717550" y="0"/>
                </a:cubicBezTo>
                <a:close/>
              </a:path>
            </a:pathLst>
          </a:custGeom>
          <a:solidFill>
            <a:srgbClr val="604A8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Shape 15">
            <a:extLst>
              <a:ext uri="{FF2B5EF4-FFF2-40B4-BE49-F238E27FC236}">
                <a16:creationId xmlns:a16="http://schemas.microsoft.com/office/drawing/2014/main" id="{350B3A18-53AB-86A4-ABE2-DFDC27AB00AC}"/>
              </a:ext>
            </a:extLst>
          </p:cNvPr>
          <p:cNvSpPr/>
          <p:nvPr/>
        </p:nvSpPr>
        <p:spPr>
          <a:xfrm>
            <a:off x="0" y="6307923"/>
            <a:ext cx="2351560" cy="212254"/>
          </a:xfrm>
          <a:custGeom>
            <a:avLst/>
            <a:gdLst>
              <a:gd name="connsiteX0" fmla="*/ 0 w 2351560"/>
              <a:gd name="connsiteY0" fmla="*/ 0 h 212254"/>
              <a:gd name="connsiteX1" fmla="*/ 2245433 w 2351560"/>
              <a:gd name="connsiteY1" fmla="*/ 0 h 212254"/>
              <a:gd name="connsiteX2" fmla="*/ 2351560 w 2351560"/>
              <a:gd name="connsiteY2" fmla="*/ 106127 h 212254"/>
              <a:gd name="connsiteX3" fmla="*/ 2351559 w 2351560"/>
              <a:gd name="connsiteY3" fmla="*/ 106127 h 212254"/>
              <a:gd name="connsiteX4" fmla="*/ 2245432 w 2351560"/>
              <a:gd name="connsiteY4" fmla="*/ 212254 h 212254"/>
              <a:gd name="connsiteX5" fmla="*/ 0 w 2351560"/>
              <a:gd name="connsiteY5" fmla="*/ 212254 h 212254"/>
              <a:gd name="connsiteX6" fmla="*/ 0 w 2351560"/>
              <a:gd name="connsiteY6" fmla="*/ 185854 h 212254"/>
              <a:gd name="connsiteX7" fmla="*/ 2245144 w 2351560"/>
              <a:gd name="connsiteY7" fmla="*/ 185854 h 212254"/>
              <a:gd name="connsiteX8" fmla="*/ 2324872 w 2351560"/>
              <a:gd name="connsiteY8" fmla="*/ 106126 h 212254"/>
              <a:gd name="connsiteX9" fmla="*/ 2324873 w 2351560"/>
              <a:gd name="connsiteY9" fmla="*/ 106126 h 212254"/>
              <a:gd name="connsiteX10" fmla="*/ 2245145 w 2351560"/>
              <a:gd name="connsiteY10" fmla="*/ 26398 h 212254"/>
              <a:gd name="connsiteX11" fmla="*/ 0 w 2351560"/>
              <a:gd name="connsiteY11" fmla="*/ 26398 h 21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51560" h="212254">
                <a:moveTo>
                  <a:pt x="0" y="0"/>
                </a:moveTo>
                <a:lnTo>
                  <a:pt x="2245433" y="0"/>
                </a:lnTo>
                <a:cubicBezTo>
                  <a:pt x="2304045" y="0"/>
                  <a:pt x="2351560" y="47515"/>
                  <a:pt x="2351560" y="106127"/>
                </a:cubicBezTo>
                <a:lnTo>
                  <a:pt x="2351559" y="106127"/>
                </a:lnTo>
                <a:cubicBezTo>
                  <a:pt x="2351559" y="164739"/>
                  <a:pt x="2304044" y="212254"/>
                  <a:pt x="2245432" y="212254"/>
                </a:cubicBezTo>
                <a:lnTo>
                  <a:pt x="0" y="212254"/>
                </a:lnTo>
                <a:lnTo>
                  <a:pt x="0" y="185854"/>
                </a:lnTo>
                <a:lnTo>
                  <a:pt x="2245144" y="185854"/>
                </a:lnTo>
                <a:cubicBezTo>
                  <a:pt x="2289177" y="185854"/>
                  <a:pt x="2324872" y="150159"/>
                  <a:pt x="2324872" y="106126"/>
                </a:cubicBezTo>
                <a:lnTo>
                  <a:pt x="2324873" y="106126"/>
                </a:lnTo>
                <a:cubicBezTo>
                  <a:pt x="2324873" y="62093"/>
                  <a:pt x="2289178" y="26398"/>
                  <a:pt x="2245145" y="26398"/>
                </a:cubicBezTo>
                <a:lnTo>
                  <a:pt x="0" y="26398"/>
                </a:lnTo>
                <a:close/>
              </a:path>
            </a:pathLst>
          </a:custGeom>
          <a:solidFill>
            <a:srgbClr val="0B032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Shape 18">
            <a:extLst>
              <a:ext uri="{FF2B5EF4-FFF2-40B4-BE49-F238E27FC236}">
                <a16:creationId xmlns:a16="http://schemas.microsoft.com/office/drawing/2014/main" id="{E88B2452-1335-503C-CBE3-5D81E3471132}"/>
              </a:ext>
            </a:extLst>
          </p:cNvPr>
          <p:cNvSpPr/>
          <p:nvPr/>
        </p:nvSpPr>
        <p:spPr>
          <a:xfrm rot="10800000">
            <a:off x="0" y="4054890"/>
            <a:ext cx="1489899" cy="1483266"/>
          </a:xfrm>
          <a:custGeom>
            <a:avLst/>
            <a:gdLst>
              <a:gd name="connsiteX0" fmla="*/ 23285 w 1489899"/>
              <a:gd name="connsiteY0" fmla="*/ 1483266 h 1483266"/>
              <a:gd name="connsiteX1" fmla="*/ 0 w 1489899"/>
              <a:gd name="connsiteY1" fmla="*/ 1483266 h 1483266"/>
              <a:gd name="connsiteX2" fmla="*/ 7341 w 1489899"/>
              <a:gd name="connsiteY2" fmla="*/ 1337881 h 1483266"/>
              <a:gd name="connsiteX3" fmla="*/ 1489898 w 1489899"/>
              <a:gd name="connsiteY3" fmla="*/ 0 h 1483266"/>
              <a:gd name="connsiteX4" fmla="*/ 1489899 w 1489899"/>
              <a:gd name="connsiteY4" fmla="*/ 0 h 1483266"/>
              <a:gd name="connsiteX5" fmla="*/ 1489899 w 1489899"/>
              <a:gd name="connsiteY5" fmla="*/ 23285 h 1483266"/>
              <a:gd name="connsiteX6" fmla="*/ 1489898 w 1489899"/>
              <a:gd name="connsiteY6" fmla="*/ 23285 h 1483266"/>
              <a:gd name="connsiteX7" fmla="*/ 30506 w 1489899"/>
              <a:gd name="connsiteY7" fmla="*/ 1340262 h 1483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9899" h="1483266">
                <a:moveTo>
                  <a:pt x="23285" y="1483266"/>
                </a:moveTo>
                <a:lnTo>
                  <a:pt x="0" y="1483266"/>
                </a:lnTo>
                <a:lnTo>
                  <a:pt x="7341" y="1337881"/>
                </a:lnTo>
                <a:cubicBezTo>
                  <a:pt x="83657" y="586413"/>
                  <a:pt x="718296" y="0"/>
                  <a:pt x="1489898" y="0"/>
                </a:cubicBezTo>
                <a:lnTo>
                  <a:pt x="1489899" y="0"/>
                </a:lnTo>
                <a:lnTo>
                  <a:pt x="1489899" y="23285"/>
                </a:lnTo>
                <a:lnTo>
                  <a:pt x="1489898" y="23285"/>
                </a:lnTo>
                <a:cubicBezTo>
                  <a:pt x="730353" y="23285"/>
                  <a:pt x="105630" y="600537"/>
                  <a:pt x="30506" y="134026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cxnSp>
        <p:nvCxnSpPr>
          <p:cNvPr id="9" name="Straight Connector 8">
            <a:extLst>
              <a:ext uri="{FF2B5EF4-FFF2-40B4-BE49-F238E27FC236}">
                <a16:creationId xmlns:a16="http://schemas.microsoft.com/office/drawing/2014/main" id="{FEE48CF3-B923-6266-C758-3D65E93716CB}"/>
              </a:ext>
            </a:extLst>
          </p:cNvPr>
          <p:cNvCxnSpPr>
            <a:cxnSpLocks/>
          </p:cNvCxnSpPr>
          <p:nvPr/>
        </p:nvCxnSpPr>
        <p:spPr>
          <a:xfrm flipH="1">
            <a:off x="2351560" y="6414050"/>
            <a:ext cx="9840440"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6" name="Freeform: Shape 25">
            <a:extLst>
              <a:ext uri="{FF2B5EF4-FFF2-40B4-BE49-F238E27FC236}">
                <a16:creationId xmlns:a16="http://schemas.microsoft.com/office/drawing/2014/main" id="{93BB8885-DCD2-DA13-B846-429AD22F6D18}"/>
              </a:ext>
            </a:extLst>
          </p:cNvPr>
          <p:cNvSpPr/>
          <p:nvPr/>
        </p:nvSpPr>
        <p:spPr>
          <a:xfrm rot="16200000">
            <a:off x="11224096" y="463153"/>
            <a:ext cx="513406" cy="1026812"/>
          </a:xfrm>
          <a:custGeom>
            <a:avLst/>
            <a:gdLst>
              <a:gd name="connsiteX0" fmla="*/ 717550 w 717550"/>
              <a:gd name="connsiteY0" fmla="*/ 0 h 1435100"/>
              <a:gd name="connsiteX1" fmla="*/ 717550 w 717550"/>
              <a:gd name="connsiteY1" fmla="*/ 1435100 h 1435100"/>
              <a:gd name="connsiteX2" fmla="*/ 0 w 717550"/>
              <a:gd name="connsiteY2" fmla="*/ 717550 h 1435100"/>
              <a:gd name="connsiteX3" fmla="*/ 717550 w 717550"/>
              <a:gd name="connsiteY3" fmla="*/ 0 h 1435100"/>
            </a:gdLst>
            <a:ahLst/>
            <a:cxnLst>
              <a:cxn ang="0">
                <a:pos x="connsiteX0" y="connsiteY0"/>
              </a:cxn>
              <a:cxn ang="0">
                <a:pos x="connsiteX1" y="connsiteY1"/>
              </a:cxn>
              <a:cxn ang="0">
                <a:pos x="connsiteX2" y="connsiteY2"/>
              </a:cxn>
              <a:cxn ang="0">
                <a:pos x="connsiteX3" y="connsiteY3"/>
              </a:cxn>
            </a:cxnLst>
            <a:rect l="l" t="t" r="r" b="b"/>
            <a:pathLst>
              <a:path w="717550" h="1435100">
                <a:moveTo>
                  <a:pt x="717550" y="0"/>
                </a:moveTo>
                <a:lnTo>
                  <a:pt x="717550" y="1435100"/>
                </a:lnTo>
                <a:cubicBezTo>
                  <a:pt x="321258" y="1435100"/>
                  <a:pt x="0" y="1113842"/>
                  <a:pt x="0" y="717550"/>
                </a:cubicBezTo>
                <a:cubicBezTo>
                  <a:pt x="0" y="321258"/>
                  <a:pt x="321258" y="0"/>
                  <a:pt x="717550" y="0"/>
                </a:cubicBezTo>
                <a:close/>
              </a:path>
            </a:pathLst>
          </a:custGeom>
          <a:pattFill prst="ltDnDiag">
            <a:fgClr>
              <a:srgbClr val="C0A8FE"/>
            </a:fgClr>
            <a:bgClr>
              <a:srgbClr val="604A8B"/>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28" name="Straight Connector 27">
            <a:extLst>
              <a:ext uri="{FF2B5EF4-FFF2-40B4-BE49-F238E27FC236}">
                <a16:creationId xmlns:a16="http://schemas.microsoft.com/office/drawing/2014/main" id="{5FB4E9BD-731B-D81A-A2E1-C74A9E3A5E45}"/>
              </a:ext>
            </a:extLst>
          </p:cNvPr>
          <p:cNvCxnSpPr>
            <a:cxnSpLocks/>
          </p:cNvCxnSpPr>
          <p:nvPr/>
        </p:nvCxnSpPr>
        <p:spPr>
          <a:xfrm>
            <a:off x="11480800" y="1168400"/>
            <a:ext cx="711200" cy="71120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144EFC56-424D-B4E0-E7F6-1242CFD11088}"/>
              </a:ext>
            </a:extLst>
          </p:cNvPr>
          <p:cNvSpPr/>
          <p:nvPr/>
        </p:nvSpPr>
        <p:spPr>
          <a:xfrm>
            <a:off x="11352906" y="1040506"/>
            <a:ext cx="255787" cy="255787"/>
          </a:xfrm>
          <a:prstGeom prst="ellipse">
            <a:avLst/>
          </a:prstGeom>
          <a:solidFill>
            <a:srgbClr val="7730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E446BF8A-D26C-E101-B402-A396C3E2CB51}"/>
              </a:ext>
            </a:extLst>
          </p:cNvPr>
          <p:cNvSpPr txBox="1"/>
          <p:nvPr/>
        </p:nvSpPr>
        <p:spPr>
          <a:xfrm>
            <a:off x="3955055" y="3429000"/>
            <a:ext cx="1685581" cy="369332"/>
          </a:xfrm>
          <a:prstGeom prst="rect">
            <a:avLst/>
          </a:prstGeom>
          <a:noFill/>
        </p:spPr>
        <p:txBody>
          <a:bodyPr wrap="square" rtlCol="0">
            <a:spAutoFit/>
          </a:bodyPr>
          <a:lstStyle/>
          <a:p>
            <a:endParaRPr lang="en-US" dirty="0"/>
          </a:p>
        </p:txBody>
      </p:sp>
      <p:sp>
        <p:nvSpPr>
          <p:cNvPr id="2" name="TextBox 1">
            <a:extLst>
              <a:ext uri="{FF2B5EF4-FFF2-40B4-BE49-F238E27FC236}">
                <a16:creationId xmlns:a16="http://schemas.microsoft.com/office/drawing/2014/main" id="{912383CE-EEB6-0F1C-F42E-EBDE453333DD}"/>
              </a:ext>
            </a:extLst>
          </p:cNvPr>
          <p:cNvSpPr txBox="1"/>
          <p:nvPr/>
        </p:nvSpPr>
        <p:spPr>
          <a:xfrm>
            <a:off x="2714983" y="303798"/>
            <a:ext cx="3514381" cy="923330"/>
          </a:xfrm>
          <a:prstGeom prst="rect">
            <a:avLst/>
          </a:prstGeom>
          <a:noFill/>
        </p:spPr>
        <p:txBody>
          <a:bodyPr wrap="square" rtlCol="0">
            <a:spAutoFit/>
          </a:bodyPr>
          <a:lstStyle/>
          <a:p>
            <a:r>
              <a:rPr lang="en-US" dirty="0"/>
              <a:t>___________________________________________________________</a:t>
            </a:r>
          </a:p>
        </p:txBody>
      </p:sp>
      <p:sp>
        <p:nvSpPr>
          <p:cNvPr id="5" name="TextBox 4">
            <a:extLst>
              <a:ext uri="{FF2B5EF4-FFF2-40B4-BE49-F238E27FC236}">
                <a16:creationId xmlns:a16="http://schemas.microsoft.com/office/drawing/2014/main" id="{F8C2D709-C3A2-7FA8-79FD-841BCB650CFE}"/>
              </a:ext>
            </a:extLst>
          </p:cNvPr>
          <p:cNvSpPr txBox="1"/>
          <p:nvPr/>
        </p:nvSpPr>
        <p:spPr>
          <a:xfrm>
            <a:off x="6026148" y="491913"/>
            <a:ext cx="5968057" cy="646331"/>
          </a:xfrm>
          <a:prstGeom prst="rect">
            <a:avLst/>
          </a:prstGeom>
          <a:noFill/>
        </p:spPr>
        <p:txBody>
          <a:bodyPr wrap="square" rtlCol="0">
            <a:spAutoFit/>
          </a:bodyPr>
          <a:lstStyle/>
          <a:p>
            <a:r>
              <a:rPr lang="en-US" sz="1800" b="1" i="0" u="none" strike="noStrike" kern="1200" cap="all" spc="100" baseline="0" dirty="0">
                <a:solidFill>
                  <a:schemeClr val="bg1">
                    <a:lumMod val="95000"/>
                  </a:schemeClr>
                </a:solidFill>
                <a:uFillTx/>
                <a:latin typeface="Univers"/>
              </a:rPr>
              <a:t>Hiding a message in an image</a:t>
            </a:r>
          </a:p>
          <a:p>
            <a:endParaRPr lang="en-US" dirty="0"/>
          </a:p>
        </p:txBody>
      </p:sp>
      <p:sp>
        <p:nvSpPr>
          <p:cNvPr id="14" name="Action Button: Blank 13">
            <a:hlinkClick r:id="" action="ppaction://noaction" highlightClick="1"/>
            <a:extLst>
              <a:ext uri="{FF2B5EF4-FFF2-40B4-BE49-F238E27FC236}">
                <a16:creationId xmlns:a16="http://schemas.microsoft.com/office/drawing/2014/main" id="{D4156C30-6963-7390-B58F-12A25F6AF320}"/>
              </a:ext>
            </a:extLst>
          </p:cNvPr>
          <p:cNvSpPr/>
          <p:nvPr/>
        </p:nvSpPr>
        <p:spPr>
          <a:xfrm>
            <a:off x="3294043" y="1233261"/>
            <a:ext cx="8897956" cy="5624737"/>
          </a:xfrm>
          <a:prstGeom prst="actionButtonBlank">
            <a:avLst/>
          </a:prstGeom>
          <a:gradFill>
            <a:gsLst>
              <a:gs pos="82000">
                <a:schemeClr val="accent1">
                  <a:lumMod val="5000"/>
                  <a:lumOff val="95000"/>
                </a:schemeClr>
              </a:gs>
              <a:gs pos="13000">
                <a:srgbClr val="C0A8FE"/>
              </a:gs>
              <a:gs pos="100000">
                <a:srgbClr val="C0A8FE"/>
              </a:gs>
              <a:gs pos="46000">
                <a:schemeClr val="accent1">
                  <a:lumMod val="45000"/>
                  <a:lumOff val="55000"/>
                </a:schemeClr>
              </a:gs>
            </a:gsLst>
            <a:lin ang="5400000" scaled="1"/>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nSpc>
                <a:spcPct val="110000"/>
              </a:lnSpc>
            </a:pPr>
            <a:endParaRPr lang="en-GB" sz="2000" dirty="0"/>
          </a:p>
        </p:txBody>
      </p:sp>
      <p:sp>
        <p:nvSpPr>
          <p:cNvPr id="15" name="TextBox 14">
            <a:extLst>
              <a:ext uri="{FF2B5EF4-FFF2-40B4-BE49-F238E27FC236}">
                <a16:creationId xmlns:a16="http://schemas.microsoft.com/office/drawing/2014/main" id="{5DAFF8CF-123F-64D1-5386-521F9FAAEC1F}"/>
              </a:ext>
            </a:extLst>
          </p:cNvPr>
          <p:cNvSpPr txBox="1"/>
          <p:nvPr/>
        </p:nvSpPr>
        <p:spPr>
          <a:xfrm>
            <a:off x="3397185" y="1173537"/>
            <a:ext cx="8788987" cy="1661993"/>
          </a:xfrm>
          <a:prstGeom prst="rect">
            <a:avLst/>
          </a:prstGeom>
          <a:noFill/>
        </p:spPr>
        <p:txBody>
          <a:bodyPr wrap="square" rtlCol="0">
            <a:spAutoFit/>
          </a:bodyPr>
          <a:lstStyle/>
          <a:p>
            <a:r>
              <a:rPr lang="en-GB" sz="2800" dirty="0">
                <a:solidFill>
                  <a:srgbClr val="222222"/>
                </a:solidFill>
                <a:latin typeface="Perpetua" panose="02020502060401020303" pitchFamily="18" charset="0"/>
                <a:ea typeface="Cambria Math" panose="02040503050406030204" pitchFamily="18" charset="0"/>
              </a:rPr>
              <a:t>A problem statement in steganography refers to the specific challenge or requirement the </a:t>
            </a:r>
            <a:r>
              <a:rPr lang="en-GB" sz="2800" dirty="0" err="1">
                <a:solidFill>
                  <a:srgbClr val="222222"/>
                </a:solidFill>
                <a:latin typeface="Perpetua" panose="02020502060401020303" pitchFamily="18" charset="0"/>
                <a:ea typeface="Cambria Math" panose="02040503050406030204" pitchFamily="18" charset="0"/>
              </a:rPr>
              <a:t>steganographer</a:t>
            </a:r>
            <a:r>
              <a:rPr lang="en-GB" sz="2800" dirty="0">
                <a:solidFill>
                  <a:srgbClr val="222222"/>
                </a:solidFill>
                <a:latin typeface="Perpetua" panose="02020502060401020303" pitchFamily="18" charset="0"/>
                <a:ea typeface="Cambria Math" panose="02040503050406030204" pitchFamily="18" charset="0"/>
              </a:rPr>
              <a:t> is trying to solve. Some common problem statements include</a:t>
            </a:r>
            <a:r>
              <a:rPr lang="en-GB" sz="2800" dirty="0">
                <a:solidFill>
                  <a:srgbClr val="222222"/>
                </a:solidFill>
                <a:latin typeface="Perpetua" panose="02020502060401020303" pitchFamily="18" charset="0"/>
              </a:rPr>
              <a:t>:</a:t>
            </a:r>
            <a:endParaRPr lang="en-US" sz="2800" dirty="0">
              <a:latin typeface="Perpetua" panose="02020502060401020303" pitchFamily="18" charset="0"/>
            </a:endParaRPr>
          </a:p>
          <a:p>
            <a:endParaRPr lang="en-US" dirty="0"/>
          </a:p>
        </p:txBody>
      </p:sp>
      <p:pic>
        <p:nvPicPr>
          <p:cNvPr id="18" name="Picture 17">
            <a:extLst>
              <a:ext uri="{FF2B5EF4-FFF2-40B4-BE49-F238E27FC236}">
                <a16:creationId xmlns:a16="http://schemas.microsoft.com/office/drawing/2014/main" id="{5C36A6FB-3FEF-14E5-2AF4-7C6D2B75F0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72174" y="4479258"/>
            <a:ext cx="6745408" cy="2223156"/>
          </a:xfrm>
          <a:prstGeom prst="rect">
            <a:avLst/>
          </a:prstGeom>
        </p:spPr>
      </p:pic>
      <p:sp>
        <p:nvSpPr>
          <p:cNvPr id="20" name="TextBox 19">
            <a:extLst>
              <a:ext uri="{FF2B5EF4-FFF2-40B4-BE49-F238E27FC236}">
                <a16:creationId xmlns:a16="http://schemas.microsoft.com/office/drawing/2014/main" id="{9831253A-6D2D-0DDA-62DC-6D88465D917C}"/>
              </a:ext>
            </a:extLst>
          </p:cNvPr>
          <p:cNvSpPr txBox="1"/>
          <p:nvPr/>
        </p:nvSpPr>
        <p:spPr>
          <a:xfrm>
            <a:off x="3690763" y="2570097"/>
            <a:ext cx="8788986" cy="2197525"/>
          </a:xfrm>
          <a:prstGeom prst="rect">
            <a:avLst/>
          </a:prstGeom>
          <a:noFill/>
        </p:spPr>
        <p:txBody>
          <a:bodyPr wrap="square" rtlCol="0">
            <a:spAutoFit/>
          </a:bodyPr>
          <a:lstStyle/>
          <a:p>
            <a:pPr marL="285750" lvl="0" indent="-285750">
              <a:lnSpc>
                <a:spcPct val="110000"/>
              </a:lnSpc>
              <a:buFont typeface="Wingdings" panose="05000000000000000000" pitchFamily="2" charset="2"/>
              <a:buChar char="Ø"/>
            </a:pPr>
            <a:r>
              <a:rPr lang="en-GB" sz="1800" dirty="0">
                <a:solidFill>
                  <a:srgbClr val="222222"/>
                </a:solidFill>
              </a:rPr>
              <a:t>Concealing the Existence of a Message</a:t>
            </a:r>
          </a:p>
          <a:p>
            <a:pPr marL="285750" lvl="0" indent="-285750">
              <a:lnSpc>
                <a:spcPct val="110000"/>
              </a:lnSpc>
              <a:buFont typeface="Wingdings" panose="05000000000000000000" pitchFamily="2" charset="2"/>
              <a:buChar char="Ø"/>
            </a:pPr>
            <a:r>
              <a:rPr lang="en-GB" sz="1800" dirty="0">
                <a:solidFill>
                  <a:srgbClr val="222222"/>
                </a:solidFill>
              </a:rPr>
              <a:t>Concealing the Existence of a Message From Specific Individuals or Groups</a:t>
            </a:r>
          </a:p>
          <a:p>
            <a:pPr marL="285750" lvl="0" indent="-285750">
              <a:lnSpc>
                <a:spcPct val="110000"/>
              </a:lnSpc>
              <a:buFont typeface="Wingdings" panose="05000000000000000000" pitchFamily="2" charset="2"/>
              <a:buChar char="Ø"/>
            </a:pPr>
            <a:r>
              <a:rPr lang="en-GB" sz="1800" dirty="0">
                <a:solidFill>
                  <a:srgbClr val="222222"/>
                </a:solidFill>
              </a:rPr>
              <a:t>Concealing the Existence of a Message and Providing a Level of Security</a:t>
            </a:r>
          </a:p>
          <a:p>
            <a:pPr marL="285750" lvl="0" indent="-285750">
              <a:lnSpc>
                <a:spcPct val="110000"/>
              </a:lnSpc>
              <a:buFont typeface="Wingdings" panose="05000000000000000000" pitchFamily="2" charset="2"/>
              <a:buChar char="Ø"/>
            </a:pPr>
            <a:r>
              <a:rPr lang="en-GB" sz="1800" dirty="0">
                <a:solidFill>
                  <a:srgbClr val="222222"/>
                </a:solidFill>
              </a:rPr>
              <a:t>Hiding Multiple Messages in a Single File</a:t>
            </a:r>
            <a:endParaRPr lang="en-GB" sz="1800" dirty="0"/>
          </a:p>
          <a:p>
            <a:pPr marL="285750" lvl="0" indent="-285750">
              <a:lnSpc>
                <a:spcPct val="110000"/>
              </a:lnSpc>
              <a:buFont typeface="Wingdings" panose="05000000000000000000" pitchFamily="2" charset="2"/>
              <a:buChar char="Ø"/>
            </a:pPr>
            <a:r>
              <a:rPr lang="en-GB" sz="1800" dirty="0">
                <a:solidFill>
                  <a:srgbClr val="222222"/>
                </a:solidFill>
              </a:rPr>
              <a:t>Hiding a Message Such That it can be Retrieved in Multiple Way</a:t>
            </a:r>
            <a:endParaRPr lang="en-GB" sz="1800" dirty="0"/>
          </a:p>
          <a:p>
            <a:pPr marL="285750" lvl="0" indent="-285750">
              <a:lnSpc>
                <a:spcPct val="110000"/>
              </a:lnSpc>
              <a:buFont typeface="Wingdings" panose="05000000000000000000" pitchFamily="2" charset="2"/>
              <a:buChar char="Ø"/>
            </a:pPr>
            <a:r>
              <a:rPr lang="en-GB" sz="1800" dirty="0">
                <a:solidFill>
                  <a:srgbClr val="222222"/>
                </a:solidFill>
              </a:rPr>
              <a:t>Hiding a Message in a way that it can be Retrieved in a Specific Sequence</a:t>
            </a:r>
            <a:endParaRPr lang="en-GB" sz="1800" dirty="0"/>
          </a:p>
          <a:p>
            <a:endParaRPr lang="en-US" dirty="0"/>
          </a:p>
        </p:txBody>
      </p:sp>
      <p:sp>
        <p:nvSpPr>
          <p:cNvPr id="21" name="TextBox 20">
            <a:extLst>
              <a:ext uri="{FF2B5EF4-FFF2-40B4-BE49-F238E27FC236}">
                <a16:creationId xmlns:a16="http://schemas.microsoft.com/office/drawing/2014/main" id="{8083F8C5-74C8-4A26-EAAD-6CF0111A5C8D}"/>
              </a:ext>
            </a:extLst>
          </p:cNvPr>
          <p:cNvSpPr txBox="1"/>
          <p:nvPr/>
        </p:nvSpPr>
        <p:spPr>
          <a:xfrm>
            <a:off x="-72129" y="-86697"/>
            <a:ext cx="4655782" cy="1569660"/>
          </a:xfrm>
          <a:prstGeom prst="rect">
            <a:avLst/>
          </a:prstGeom>
          <a:noFill/>
        </p:spPr>
        <p:txBody>
          <a:bodyPr wrap="square" rtlCol="0">
            <a:spAutoFit/>
          </a:bodyPr>
          <a:lstStyle/>
          <a:p>
            <a:r>
              <a:rPr lang="en-GB" sz="4800" dirty="0">
                <a:latin typeface="Algerian" panose="04020705040A02060702" pitchFamily="82" charset="0"/>
              </a:rPr>
              <a:t>Problem Statements :</a:t>
            </a:r>
          </a:p>
        </p:txBody>
      </p:sp>
    </p:spTree>
    <p:extLst>
      <p:ext uri="{BB962C8B-B14F-4D97-AF65-F5344CB8AC3E}">
        <p14:creationId xmlns:p14="http://schemas.microsoft.com/office/powerpoint/2010/main" val="1681503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barn(inVertical)">
                                      <p:cBhvr>
                                        <p:cTn id="7" dur="500"/>
                                        <p:tgtEl>
                                          <p:spTgt spid="2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barn(inVertical)">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EE48CF3-B923-6266-C758-3D65E93716CB}"/>
              </a:ext>
            </a:extLst>
          </p:cNvPr>
          <p:cNvCxnSpPr>
            <a:cxnSpLocks/>
          </p:cNvCxnSpPr>
          <p:nvPr/>
        </p:nvCxnSpPr>
        <p:spPr>
          <a:xfrm flipH="1">
            <a:off x="2351560" y="6414050"/>
            <a:ext cx="9840440"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4" name="Picture 3" descr="A room with a table and chairs&#10;&#10;Description automatically generated with low confidence">
            <a:extLst>
              <a:ext uri="{FF2B5EF4-FFF2-40B4-BE49-F238E27FC236}">
                <a16:creationId xmlns:a16="http://schemas.microsoft.com/office/drawing/2014/main" id="{BDD4B745-1CAC-83ED-1E0E-707BEF7505D1}"/>
              </a:ext>
            </a:extLst>
          </p:cNvPr>
          <p:cNvPicPr>
            <a:picLocks noChangeAspect="1"/>
          </p:cNvPicPr>
          <p:nvPr/>
        </p:nvPicPr>
        <p:blipFill rotWithShape="1">
          <a:blip r:embed="rId3">
            <a:extLst>
              <a:ext uri="{28A0092B-C50C-407E-A947-70E740481C1C}">
                <a14:useLocalDpi xmlns:a14="http://schemas.microsoft.com/office/drawing/2010/main" val="0"/>
              </a:ext>
            </a:extLst>
          </a:blip>
          <a:srcRect t="7868" b="7868"/>
          <a:stretch/>
        </p:blipFill>
        <p:spPr>
          <a:xfrm>
            <a:off x="1" y="0"/>
            <a:ext cx="12191999" cy="6858000"/>
          </a:xfrm>
          <a:prstGeom prst="rect">
            <a:avLst/>
          </a:prstGeom>
        </p:spPr>
      </p:pic>
      <p:sp>
        <p:nvSpPr>
          <p:cNvPr id="5" name="Rectangle 4">
            <a:extLst>
              <a:ext uri="{FF2B5EF4-FFF2-40B4-BE49-F238E27FC236}">
                <a16:creationId xmlns:a16="http://schemas.microsoft.com/office/drawing/2014/main" id="{90505721-1E22-2C8A-4E6E-DAF3A8FC8056}"/>
              </a:ext>
            </a:extLst>
          </p:cNvPr>
          <p:cNvSpPr/>
          <p:nvPr/>
        </p:nvSpPr>
        <p:spPr>
          <a:xfrm>
            <a:off x="-30481" y="-13636"/>
            <a:ext cx="12192000" cy="6858000"/>
          </a:xfrm>
          <a:prstGeom prst="rect">
            <a:avLst/>
          </a:prstGeom>
          <a:solidFill>
            <a:srgbClr val="604A8B">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92E8BF93-3807-18B4-78F5-6AED05F7AA99}"/>
              </a:ext>
            </a:extLst>
          </p:cNvPr>
          <p:cNvSpPr/>
          <p:nvPr/>
        </p:nvSpPr>
        <p:spPr>
          <a:xfrm>
            <a:off x="9871963" y="4506165"/>
            <a:ext cx="2320037" cy="2351835"/>
          </a:xfrm>
          <a:custGeom>
            <a:avLst/>
            <a:gdLst>
              <a:gd name="connsiteX0" fmla="*/ 2304797 w 2320037"/>
              <a:gd name="connsiteY0" fmla="*/ 0 h 2351835"/>
              <a:gd name="connsiteX1" fmla="*/ 2320037 w 2320037"/>
              <a:gd name="connsiteY1" fmla="*/ 770 h 2351835"/>
              <a:gd name="connsiteX2" fmla="*/ 2320037 w 2320037"/>
              <a:gd name="connsiteY2" fmla="*/ 2351835 h 2351835"/>
              <a:gd name="connsiteX3" fmla="*/ 2375 w 2320037"/>
              <a:gd name="connsiteY3" fmla="*/ 2351835 h 2351835"/>
              <a:gd name="connsiteX4" fmla="*/ 0 w 2320037"/>
              <a:gd name="connsiteY4" fmla="*/ 2304797 h 2351835"/>
              <a:gd name="connsiteX5" fmla="*/ 2304797 w 2320037"/>
              <a:gd name="connsiteY5" fmla="*/ 0 h 235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0037" h="2351835">
                <a:moveTo>
                  <a:pt x="2304797" y="0"/>
                </a:moveTo>
                <a:lnTo>
                  <a:pt x="2320037" y="770"/>
                </a:lnTo>
                <a:lnTo>
                  <a:pt x="2320037" y="2351835"/>
                </a:lnTo>
                <a:lnTo>
                  <a:pt x="2375" y="2351835"/>
                </a:lnTo>
                <a:lnTo>
                  <a:pt x="0" y="2304797"/>
                </a:lnTo>
                <a:cubicBezTo>
                  <a:pt x="0" y="1031893"/>
                  <a:pt x="1031893" y="0"/>
                  <a:pt x="2304797" y="0"/>
                </a:cubicBezTo>
                <a:close/>
              </a:path>
            </a:pathLst>
          </a:custGeom>
          <a:solidFill>
            <a:srgbClr val="604A8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9" name="Group 28">
            <a:extLst>
              <a:ext uri="{FF2B5EF4-FFF2-40B4-BE49-F238E27FC236}">
                <a16:creationId xmlns:a16="http://schemas.microsoft.com/office/drawing/2014/main" id="{F9510C4F-043F-5C3C-6DFE-E5750384F0F6}"/>
              </a:ext>
            </a:extLst>
          </p:cNvPr>
          <p:cNvGrpSpPr/>
          <p:nvPr/>
        </p:nvGrpSpPr>
        <p:grpSpPr>
          <a:xfrm flipH="1" flipV="1">
            <a:off x="0" y="0"/>
            <a:ext cx="3528060" cy="3550920"/>
            <a:chOff x="8663940" y="3307080"/>
            <a:chExt cx="3528060" cy="3550920"/>
          </a:xfrm>
        </p:grpSpPr>
        <p:sp>
          <p:nvSpPr>
            <p:cNvPr id="30" name="Freeform: Shape 29">
              <a:extLst>
                <a:ext uri="{FF2B5EF4-FFF2-40B4-BE49-F238E27FC236}">
                  <a16:creationId xmlns:a16="http://schemas.microsoft.com/office/drawing/2014/main" id="{D16379C3-B584-EA16-9FCD-D7AB293C68A9}"/>
                </a:ext>
              </a:extLst>
            </p:cNvPr>
            <p:cNvSpPr/>
            <p:nvPr/>
          </p:nvSpPr>
          <p:spPr>
            <a:xfrm>
              <a:off x="8663940" y="3307080"/>
              <a:ext cx="3528060" cy="3535680"/>
            </a:xfrm>
            <a:custGeom>
              <a:avLst/>
              <a:gdLst>
                <a:gd name="connsiteX0" fmla="*/ 3512820 w 3528060"/>
                <a:gd name="connsiteY0" fmla="*/ 0 h 3535680"/>
                <a:gd name="connsiteX1" fmla="*/ 3528060 w 3528060"/>
                <a:gd name="connsiteY1" fmla="*/ 386 h 3535680"/>
                <a:gd name="connsiteX2" fmla="*/ 3528060 w 3528060"/>
                <a:gd name="connsiteY2" fmla="*/ 3535680 h 3535680"/>
                <a:gd name="connsiteX3" fmla="*/ 578 w 3528060"/>
                <a:gd name="connsiteY3" fmla="*/ 3535680 h 3535680"/>
                <a:gd name="connsiteX4" fmla="*/ 0 w 3528060"/>
                <a:gd name="connsiteY4" fmla="*/ 3512820 h 3535680"/>
                <a:gd name="connsiteX5" fmla="*/ 3512820 w 3528060"/>
                <a:gd name="connsiteY5" fmla="*/ 0 h 353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8060" h="3535680">
                  <a:moveTo>
                    <a:pt x="3512820" y="0"/>
                  </a:moveTo>
                  <a:lnTo>
                    <a:pt x="3528060" y="386"/>
                  </a:lnTo>
                  <a:lnTo>
                    <a:pt x="3528060" y="3535680"/>
                  </a:lnTo>
                  <a:lnTo>
                    <a:pt x="578" y="3535680"/>
                  </a:lnTo>
                  <a:lnTo>
                    <a:pt x="0" y="3512820"/>
                  </a:lnTo>
                  <a:cubicBezTo>
                    <a:pt x="0" y="1572743"/>
                    <a:pt x="1572743" y="0"/>
                    <a:pt x="3512820" y="0"/>
                  </a:cubicBezTo>
                  <a:close/>
                </a:path>
              </a:pathLst>
            </a:custGeom>
            <a:solidFill>
              <a:srgbClr val="C0A8FE">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Freeform: Shape 31">
              <a:extLst>
                <a:ext uri="{FF2B5EF4-FFF2-40B4-BE49-F238E27FC236}">
                  <a16:creationId xmlns:a16="http://schemas.microsoft.com/office/drawing/2014/main" id="{C2ED135A-5399-2027-0132-95DDB9DAF77D}"/>
                </a:ext>
              </a:extLst>
            </p:cNvPr>
            <p:cNvSpPr/>
            <p:nvPr/>
          </p:nvSpPr>
          <p:spPr>
            <a:xfrm>
              <a:off x="9871963" y="4506165"/>
              <a:ext cx="2320037" cy="2351835"/>
            </a:xfrm>
            <a:custGeom>
              <a:avLst/>
              <a:gdLst>
                <a:gd name="connsiteX0" fmla="*/ 2304797 w 2320037"/>
                <a:gd name="connsiteY0" fmla="*/ 0 h 2351835"/>
                <a:gd name="connsiteX1" fmla="*/ 2320037 w 2320037"/>
                <a:gd name="connsiteY1" fmla="*/ 770 h 2351835"/>
                <a:gd name="connsiteX2" fmla="*/ 2320037 w 2320037"/>
                <a:gd name="connsiteY2" fmla="*/ 2351835 h 2351835"/>
                <a:gd name="connsiteX3" fmla="*/ 2375 w 2320037"/>
                <a:gd name="connsiteY3" fmla="*/ 2351835 h 2351835"/>
                <a:gd name="connsiteX4" fmla="*/ 0 w 2320037"/>
                <a:gd name="connsiteY4" fmla="*/ 2304797 h 2351835"/>
                <a:gd name="connsiteX5" fmla="*/ 2304797 w 2320037"/>
                <a:gd name="connsiteY5" fmla="*/ 0 h 235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0037" h="2351835">
                  <a:moveTo>
                    <a:pt x="2304797" y="0"/>
                  </a:moveTo>
                  <a:lnTo>
                    <a:pt x="2320037" y="770"/>
                  </a:lnTo>
                  <a:lnTo>
                    <a:pt x="2320037" y="2351835"/>
                  </a:lnTo>
                  <a:lnTo>
                    <a:pt x="2375" y="2351835"/>
                  </a:lnTo>
                  <a:lnTo>
                    <a:pt x="0" y="2304797"/>
                  </a:lnTo>
                  <a:cubicBezTo>
                    <a:pt x="0" y="1031893"/>
                    <a:pt x="1031893" y="0"/>
                    <a:pt x="2304797" y="0"/>
                  </a:cubicBezTo>
                  <a:close/>
                </a:path>
              </a:pathLst>
            </a:custGeom>
            <a:solidFill>
              <a:srgbClr val="604A8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33" name="Arc 32">
            <a:extLst>
              <a:ext uri="{FF2B5EF4-FFF2-40B4-BE49-F238E27FC236}">
                <a16:creationId xmlns:a16="http://schemas.microsoft.com/office/drawing/2014/main" id="{CF55EB21-1608-F0DA-A9D5-7AD9681A95A4}"/>
              </a:ext>
            </a:extLst>
          </p:cNvPr>
          <p:cNvSpPr/>
          <p:nvPr/>
        </p:nvSpPr>
        <p:spPr>
          <a:xfrm>
            <a:off x="9311640" y="3947160"/>
            <a:ext cx="5760720" cy="5760720"/>
          </a:xfrm>
          <a:prstGeom prst="arc">
            <a:avLst>
              <a:gd name="adj1" fmla="val 10816662"/>
              <a:gd name="adj2" fmla="val 16117489"/>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Arc 37">
            <a:extLst>
              <a:ext uri="{FF2B5EF4-FFF2-40B4-BE49-F238E27FC236}">
                <a16:creationId xmlns:a16="http://schemas.microsoft.com/office/drawing/2014/main" id="{BD05BC0B-FFA1-BA74-4689-9E2DBC3ACB11}"/>
              </a:ext>
            </a:extLst>
          </p:cNvPr>
          <p:cNvSpPr/>
          <p:nvPr/>
        </p:nvSpPr>
        <p:spPr>
          <a:xfrm flipH="1" flipV="1">
            <a:off x="-2910840" y="-2849880"/>
            <a:ext cx="5760720" cy="5760720"/>
          </a:xfrm>
          <a:prstGeom prst="arc">
            <a:avLst>
              <a:gd name="adj1" fmla="val 10816662"/>
              <a:gd name="adj2" fmla="val 16117489"/>
            </a:avLst>
          </a:prstGeom>
          <a:ln w="12700">
            <a:solidFill>
              <a:schemeClr val="bg1"/>
            </a:solidFill>
            <a:prstDash val="lgDashDot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Oval 38">
            <a:extLst>
              <a:ext uri="{FF2B5EF4-FFF2-40B4-BE49-F238E27FC236}">
                <a16:creationId xmlns:a16="http://schemas.microsoft.com/office/drawing/2014/main" id="{9BA834BD-8F64-0495-2667-D3FE4599EB40}"/>
              </a:ext>
            </a:extLst>
          </p:cNvPr>
          <p:cNvSpPr/>
          <p:nvPr/>
        </p:nvSpPr>
        <p:spPr>
          <a:xfrm>
            <a:off x="2880360" y="1127760"/>
            <a:ext cx="701040" cy="701040"/>
          </a:xfrm>
          <a:prstGeom prst="ellipse">
            <a:avLst/>
          </a:prstGeom>
          <a:solidFill>
            <a:srgbClr val="C0A8F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407CCC7D-743E-D237-19E0-B7D7B3635A6E}"/>
              </a:ext>
            </a:extLst>
          </p:cNvPr>
          <p:cNvSpPr/>
          <p:nvPr/>
        </p:nvSpPr>
        <p:spPr>
          <a:xfrm>
            <a:off x="8397240" y="5867400"/>
            <a:ext cx="701040" cy="701040"/>
          </a:xfrm>
          <a:prstGeom prst="ellipse">
            <a:avLst/>
          </a:prstGeom>
          <a:solidFill>
            <a:srgbClr val="C0A8F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Rounded Corners 40">
            <a:extLst>
              <a:ext uri="{FF2B5EF4-FFF2-40B4-BE49-F238E27FC236}">
                <a16:creationId xmlns:a16="http://schemas.microsoft.com/office/drawing/2014/main" id="{F0C288AF-85F9-BB45-4495-C9085112B8FB}"/>
              </a:ext>
            </a:extLst>
          </p:cNvPr>
          <p:cNvSpPr/>
          <p:nvPr/>
        </p:nvSpPr>
        <p:spPr>
          <a:xfrm rot="3005918">
            <a:off x="249885"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Rounded Corners 41">
            <a:extLst>
              <a:ext uri="{FF2B5EF4-FFF2-40B4-BE49-F238E27FC236}">
                <a16:creationId xmlns:a16="http://schemas.microsoft.com/office/drawing/2014/main" id="{FD79E12E-FC93-9EEB-770C-FE8945A9E859}"/>
              </a:ext>
            </a:extLst>
          </p:cNvPr>
          <p:cNvSpPr/>
          <p:nvPr/>
        </p:nvSpPr>
        <p:spPr>
          <a:xfrm rot="3005918">
            <a:off x="524628"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Rounded Corners 42">
            <a:extLst>
              <a:ext uri="{FF2B5EF4-FFF2-40B4-BE49-F238E27FC236}">
                <a16:creationId xmlns:a16="http://schemas.microsoft.com/office/drawing/2014/main" id="{479CF5E0-932A-5954-B0EC-1982B92A28A1}"/>
              </a:ext>
            </a:extLst>
          </p:cNvPr>
          <p:cNvSpPr/>
          <p:nvPr/>
        </p:nvSpPr>
        <p:spPr>
          <a:xfrm rot="3005918">
            <a:off x="799371"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Rounded Corners 43">
            <a:extLst>
              <a:ext uri="{FF2B5EF4-FFF2-40B4-BE49-F238E27FC236}">
                <a16:creationId xmlns:a16="http://schemas.microsoft.com/office/drawing/2014/main" id="{DA3CEBD5-ABD8-A866-362E-6646CD4AA2AD}"/>
              </a:ext>
            </a:extLst>
          </p:cNvPr>
          <p:cNvSpPr/>
          <p:nvPr/>
        </p:nvSpPr>
        <p:spPr>
          <a:xfrm rot="3005918">
            <a:off x="1074114"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Rounded Corners 44">
            <a:extLst>
              <a:ext uri="{FF2B5EF4-FFF2-40B4-BE49-F238E27FC236}">
                <a16:creationId xmlns:a16="http://schemas.microsoft.com/office/drawing/2014/main" id="{4723CAE6-171B-CD13-48A1-10122EB966D6}"/>
              </a:ext>
            </a:extLst>
          </p:cNvPr>
          <p:cNvSpPr/>
          <p:nvPr/>
        </p:nvSpPr>
        <p:spPr>
          <a:xfrm rot="3005918">
            <a:off x="1348857"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2AE35B68-AEB2-FDD3-A78E-1F42B5ED48BF}"/>
              </a:ext>
            </a:extLst>
          </p:cNvPr>
          <p:cNvSpPr/>
          <p:nvPr/>
        </p:nvSpPr>
        <p:spPr>
          <a:xfrm rot="3005918">
            <a:off x="1623600"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Rounded Corners 46">
            <a:extLst>
              <a:ext uri="{FF2B5EF4-FFF2-40B4-BE49-F238E27FC236}">
                <a16:creationId xmlns:a16="http://schemas.microsoft.com/office/drawing/2014/main" id="{834CAF69-DAE9-E3D3-CCF0-E52166884F8F}"/>
              </a:ext>
            </a:extLst>
          </p:cNvPr>
          <p:cNvSpPr/>
          <p:nvPr/>
        </p:nvSpPr>
        <p:spPr>
          <a:xfrm rot="3005918">
            <a:off x="1898345"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Rounded Corners 48">
            <a:extLst>
              <a:ext uri="{FF2B5EF4-FFF2-40B4-BE49-F238E27FC236}">
                <a16:creationId xmlns:a16="http://schemas.microsoft.com/office/drawing/2014/main" id="{662CB5BC-DF36-73CB-377C-991133920C01}"/>
              </a:ext>
            </a:extLst>
          </p:cNvPr>
          <p:cNvSpPr/>
          <p:nvPr/>
        </p:nvSpPr>
        <p:spPr>
          <a:xfrm rot="3005918">
            <a:off x="249886"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Rounded Corners 49">
            <a:extLst>
              <a:ext uri="{FF2B5EF4-FFF2-40B4-BE49-F238E27FC236}">
                <a16:creationId xmlns:a16="http://schemas.microsoft.com/office/drawing/2014/main" id="{A6B6C69F-9B01-5741-6131-3A462355AAD4}"/>
              </a:ext>
            </a:extLst>
          </p:cNvPr>
          <p:cNvSpPr/>
          <p:nvPr/>
        </p:nvSpPr>
        <p:spPr>
          <a:xfrm rot="3005918">
            <a:off x="524629"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Rounded Corners 50">
            <a:extLst>
              <a:ext uri="{FF2B5EF4-FFF2-40B4-BE49-F238E27FC236}">
                <a16:creationId xmlns:a16="http://schemas.microsoft.com/office/drawing/2014/main" id="{D4660FF3-46A4-224F-A8E0-8B2013CCAE0B}"/>
              </a:ext>
            </a:extLst>
          </p:cNvPr>
          <p:cNvSpPr/>
          <p:nvPr/>
        </p:nvSpPr>
        <p:spPr>
          <a:xfrm rot="3005918">
            <a:off x="799372"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Rounded Corners 51">
            <a:extLst>
              <a:ext uri="{FF2B5EF4-FFF2-40B4-BE49-F238E27FC236}">
                <a16:creationId xmlns:a16="http://schemas.microsoft.com/office/drawing/2014/main" id="{781085D8-BCEF-854B-F001-5CB3CE1E6BE2}"/>
              </a:ext>
            </a:extLst>
          </p:cNvPr>
          <p:cNvSpPr/>
          <p:nvPr/>
        </p:nvSpPr>
        <p:spPr>
          <a:xfrm rot="3005918">
            <a:off x="1074115"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Rounded Corners 52">
            <a:extLst>
              <a:ext uri="{FF2B5EF4-FFF2-40B4-BE49-F238E27FC236}">
                <a16:creationId xmlns:a16="http://schemas.microsoft.com/office/drawing/2014/main" id="{EF06AF8D-E1CA-46AF-7FA4-8BB5B9DB060B}"/>
              </a:ext>
            </a:extLst>
          </p:cNvPr>
          <p:cNvSpPr/>
          <p:nvPr/>
        </p:nvSpPr>
        <p:spPr>
          <a:xfrm rot="3005918">
            <a:off x="1348858"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Rounded Corners 53">
            <a:extLst>
              <a:ext uri="{FF2B5EF4-FFF2-40B4-BE49-F238E27FC236}">
                <a16:creationId xmlns:a16="http://schemas.microsoft.com/office/drawing/2014/main" id="{94B9EE4E-BA38-2D4C-D72A-E41BE8C273D6}"/>
              </a:ext>
            </a:extLst>
          </p:cNvPr>
          <p:cNvSpPr/>
          <p:nvPr/>
        </p:nvSpPr>
        <p:spPr>
          <a:xfrm rot="3005918">
            <a:off x="1623601"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Rounded Corners 54">
            <a:extLst>
              <a:ext uri="{FF2B5EF4-FFF2-40B4-BE49-F238E27FC236}">
                <a16:creationId xmlns:a16="http://schemas.microsoft.com/office/drawing/2014/main" id="{8D54B282-4909-FF7B-8F7D-2AD7A5DD6C92}"/>
              </a:ext>
            </a:extLst>
          </p:cNvPr>
          <p:cNvSpPr/>
          <p:nvPr/>
        </p:nvSpPr>
        <p:spPr>
          <a:xfrm rot="3005918">
            <a:off x="1898346"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 name="Straight Connector 56">
            <a:extLst>
              <a:ext uri="{FF2B5EF4-FFF2-40B4-BE49-F238E27FC236}">
                <a16:creationId xmlns:a16="http://schemas.microsoft.com/office/drawing/2014/main" id="{6B4B16BA-BDC0-E032-547E-907F45544BEE}"/>
              </a:ext>
            </a:extLst>
          </p:cNvPr>
          <p:cNvCxnSpPr/>
          <p:nvPr/>
        </p:nvCxnSpPr>
        <p:spPr>
          <a:xfrm>
            <a:off x="4930815" y="497711"/>
            <a:ext cx="7261185" cy="0"/>
          </a:xfrm>
          <a:prstGeom prst="line">
            <a:avLst/>
          </a:prstGeom>
          <a:ln w="9525">
            <a:solidFill>
              <a:srgbClr val="C0A8FE">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E7FD48FE-AB6D-EE49-0BA5-958EE822A9F5}"/>
              </a:ext>
            </a:extLst>
          </p:cNvPr>
          <p:cNvSpPr/>
          <p:nvPr/>
        </p:nvSpPr>
        <p:spPr>
          <a:xfrm>
            <a:off x="11285316" y="3877520"/>
            <a:ext cx="324091" cy="324091"/>
          </a:xfrm>
          <a:prstGeom prst="ellipse">
            <a:avLst/>
          </a:prstGeom>
          <a:solidFill>
            <a:srgbClr val="C0A8FE">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Arc 73">
            <a:extLst>
              <a:ext uri="{FF2B5EF4-FFF2-40B4-BE49-F238E27FC236}">
                <a16:creationId xmlns:a16="http://schemas.microsoft.com/office/drawing/2014/main" id="{DBAD3F72-878F-A47B-E698-CF350A63D9EF}"/>
              </a:ext>
            </a:extLst>
          </p:cNvPr>
          <p:cNvSpPr/>
          <p:nvPr/>
        </p:nvSpPr>
        <p:spPr>
          <a:xfrm>
            <a:off x="10546080" y="1173480"/>
            <a:ext cx="350520" cy="350520"/>
          </a:xfrm>
          <a:prstGeom prst="arc">
            <a:avLst>
              <a:gd name="adj1" fmla="val 16200000"/>
              <a:gd name="adj2" fmla="val 13630485"/>
            </a:avLst>
          </a:prstGeom>
          <a:ln>
            <a:solidFill>
              <a:srgbClr val="C0A8F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5" name="Arc 74">
            <a:extLst>
              <a:ext uri="{FF2B5EF4-FFF2-40B4-BE49-F238E27FC236}">
                <a16:creationId xmlns:a16="http://schemas.microsoft.com/office/drawing/2014/main" id="{6683A935-91CA-1F61-1D36-7FC92F51CD6C}"/>
              </a:ext>
            </a:extLst>
          </p:cNvPr>
          <p:cNvSpPr/>
          <p:nvPr/>
        </p:nvSpPr>
        <p:spPr>
          <a:xfrm>
            <a:off x="2453640" y="6172200"/>
            <a:ext cx="350520" cy="350520"/>
          </a:xfrm>
          <a:prstGeom prst="arc">
            <a:avLst>
              <a:gd name="adj1" fmla="val 16200000"/>
              <a:gd name="adj2" fmla="val 13630485"/>
            </a:avLst>
          </a:prstGeom>
          <a:ln>
            <a:solidFill>
              <a:srgbClr val="C0A8F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6" name="Rectangle: Top Corners Rounded 75">
            <a:extLst>
              <a:ext uri="{FF2B5EF4-FFF2-40B4-BE49-F238E27FC236}">
                <a16:creationId xmlns:a16="http://schemas.microsoft.com/office/drawing/2014/main" id="{EE289360-B642-133F-1360-844DDBB11FB0}"/>
              </a:ext>
            </a:extLst>
          </p:cNvPr>
          <p:cNvSpPr/>
          <p:nvPr/>
        </p:nvSpPr>
        <p:spPr>
          <a:xfrm rot="16200000" flipH="1">
            <a:off x="10529008" y="-991276"/>
            <a:ext cx="320040" cy="3005945"/>
          </a:xfrm>
          <a:prstGeom prst="round2SameRect">
            <a:avLst>
              <a:gd name="adj1" fmla="val 50000"/>
              <a:gd name="adj2" fmla="val 0"/>
            </a:avLst>
          </a:prstGeom>
          <a:solidFill>
            <a:srgbClr val="C0A8FE">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EBF01436-6685-A3C4-EEEF-4EFE327276C5}"/>
              </a:ext>
            </a:extLst>
          </p:cNvPr>
          <p:cNvSpPr txBox="1"/>
          <p:nvPr/>
        </p:nvSpPr>
        <p:spPr>
          <a:xfrm>
            <a:off x="113724" y="473322"/>
            <a:ext cx="10173343" cy="769441"/>
          </a:xfrm>
          <a:prstGeom prst="rect">
            <a:avLst/>
          </a:prstGeom>
          <a:noFill/>
        </p:spPr>
        <p:txBody>
          <a:bodyPr wrap="square" rtlCol="0">
            <a:spAutoFit/>
          </a:bodyPr>
          <a:lstStyle/>
          <a:p>
            <a:r>
              <a:rPr lang="en-GB" sz="4400" b="1" dirty="0">
                <a:solidFill>
                  <a:schemeClr val="bg1"/>
                </a:solidFill>
                <a:effectLst>
                  <a:outerShdw blurRad="50800" dist="38100" dir="8100000" algn="tr" rotWithShape="0">
                    <a:prstClr val="black">
                      <a:alpha val="40000"/>
                    </a:prstClr>
                  </a:outerShdw>
                  <a:reflection blurRad="6350" stA="55000" endA="300" endPos="45500" dir="5400000" sy="-100000" algn="bl" rotWithShape="0"/>
                </a:effectLst>
                <a:latin typeface="Algerian" panose="04020705040A02060702" pitchFamily="82" charset="0"/>
              </a:rPr>
              <a:t>Benefits of Steganography  :</a:t>
            </a:r>
            <a:endParaRPr lang="en-US" sz="4400" dirty="0">
              <a:solidFill>
                <a:schemeClr val="bg1"/>
              </a:solidFill>
              <a:effectLst>
                <a:outerShdw blurRad="50800" dist="38100" dir="8100000" algn="tr" rotWithShape="0">
                  <a:prstClr val="black">
                    <a:alpha val="40000"/>
                  </a:prstClr>
                </a:outerShdw>
                <a:reflection blurRad="6350" stA="55000" endA="300" endPos="45500" dir="5400000" sy="-100000" algn="bl" rotWithShape="0"/>
              </a:effectLst>
              <a:latin typeface="Algerian" panose="04020705040A02060702" pitchFamily="82" charset="0"/>
            </a:endParaRPr>
          </a:p>
        </p:txBody>
      </p:sp>
      <p:sp>
        <p:nvSpPr>
          <p:cNvPr id="3" name="TextBox 2">
            <a:extLst>
              <a:ext uri="{FF2B5EF4-FFF2-40B4-BE49-F238E27FC236}">
                <a16:creationId xmlns:a16="http://schemas.microsoft.com/office/drawing/2014/main" id="{3C95198E-40A0-2149-BE60-FED12CCE8148}"/>
              </a:ext>
            </a:extLst>
          </p:cNvPr>
          <p:cNvSpPr txBox="1"/>
          <p:nvPr/>
        </p:nvSpPr>
        <p:spPr>
          <a:xfrm>
            <a:off x="5602076" y="2638539"/>
            <a:ext cx="6853233" cy="369332"/>
          </a:xfrm>
          <a:prstGeom prst="rect">
            <a:avLst/>
          </a:prstGeom>
          <a:noFill/>
        </p:spPr>
        <p:txBody>
          <a:bodyPr wrap="square" rtlCol="0">
            <a:spAutoFit/>
          </a:bodyPr>
          <a:lstStyle/>
          <a:p>
            <a:endParaRPr lang="en-US" dirty="0"/>
          </a:p>
        </p:txBody>
      </p:sp>
      <p:sp>
        <p:nvSpPr>
          <p:cNvPr id="6" name="TextBox 5">
            <a:extLst>
              <a:ext uri="{FF2B5EF4-FFF2-40B4-BE49-F238E27FC236}">
                <a16:creationId xmlns:a16="http://schemas.microsoft.com/office/drawing/2014/main" id="{3ADA71FC-0397-7D7D-335F-60488CF093A6}"/>
              </a:ext>
            </a:extLst>
          </p:cNvPr>
          <p:cNvSpPr txBox="1"/>
          <p:nvPr/>
        </p:nvSpPr>
        <p:spPr>
          <a:xfrm>
            <a:off x="5684703" y="2638539"/>
            <a:ext cx="914400" cy="914400"/>
          </a:xfrm>
          <a:prstGeom prst="rect">
            <a:avLst/>
          </a:prstGeom>
          <a:noFill/>
        </p:spPr>
        <p:txBody>
          <a:bodyPr wrap="square" rtlCol="0">
            <a:spAutoFit/>
          </a:bodyPr>
          <a:lstStyle/>
          <a:p>
            <a:endParaRPr lang="en-US" dirty="0"/>
          </a:p>
        </p:txBody>
      </p:sp>
      <p:sp>
        <p:nvSpPr>
          <p:cNvPr id="7" name="TextBox 6">
            <a:extLst>
              <a:ext uri="{FF2B5EF4-FFF2-40B4-BE49-F238E27FC236}">
                <a16:creationId xmlns:a16="http://schemas.microsoft.com/office/drawing/2014/main" id="{E0227EAA-6CBF-2D99-B8FB-4C9031E55D26}"/>
              </a:ext>
            </a:extLst>
          </p:cNvPr>
          <p:cNvSpPr txBox="1"/>
          <p:nvPr/>
        </p:nvSpPr>
        <p:spPr>
          <a:xfrm>
            <a:off x="6632154" y="3183607"/>
            <a:ext cx="3007605" cy="369332"/>
          </a:xfrm>
          <a:prstGeom prst="rect">
            <a:avLst/>
          </a:prstGeom>
          <a:noFill/>
        </p:spPr>
        <p:txBody>
          <a:bodyPr wrap="square" rtlCol="0">
            <a:spAutoFit/>
          </a:bodyPr>
          <a:lstStyle/>
          <a:p>
            <a:endParaRPr lang="en-US" dirty="0"/>
          </a:p>
        </p:txBody>
      </p:sp>
      <p:sp>
        <p:nvSpPr>
          <p:cNvPr id="10" name="TextBox 9">
            <a:extLst>
              <a:ext uri="{FF2B5EF4-FFF2-40B4-BE49-F238E27FC236}">
                <a16:creationId xmlns:a16="http://schemas.microsoft.com/office/drawing/2014/main" id="{E449E2ED-10E1-2447-A4AA-6E56BE70E3A9}"/>
              </a:ext>
            </a:extLst>
          </p:cNvPr>
          <p:cNvSpPr txBox="1"/>
          <p:nvPr/>
        </p:nvSpPr>
        <p:spPr>
          <a:xfrm>
            <a:off x="978259" y="2969045"/>
            <a:ext cx="10307056" cy="369332"/>
          </a:xfrm>
          <a:prstGeom prst="rect">
            <a:avLst/>
          </a:prstGeom>
          <a:blipFill>
            <a:blip r:embed="rId4">
              <a:alphaModFix amt="14000"/>
              <a:extLst>
                <a:ext uri="{96DAC541-7B7A-43D3-8B79-37D633B846F1}">
                  <asvg:svgBlip xmlns:asvg="http://schemas.microsoft.com/office/drawing/2016/SVG/main" r:embed="rId5"/>
                </a:ext>
              </a:extLst>
            </a:blip>
            <a:stretch>
              <a:fillRect/>
            </a:stretch>
          </a:blipFill>
        </p:spPr>
        <p:txBody>
          <a:bodyPr wrap="square" rtlCol="0">
            <a:spAutoFit/>
          </a:bodyPr>
          <a:lstStyle/>
          <a:p>
            <a:endParaRPr lang="en-US" dirty="0"/>
          </a:p>
        </p:txBody>
      </p:sp>
      <p:sp>
        <p:nvSpPr>
          <p:cNvPr id="15" name="TextBox 14">
            <a:extLst>
              <a:ext uri="{FF2B5EF4-FFF2-40B4-BE49-F238E27FC236}">
                <a16:creationId xmlns:a16="http://schemas.microsoft.com/office/drawing/2014/main" id="{AE91D4A0-FCC4-92F7-863F-E145526346F7}"/>
              </a:ext>
            </a:extLst>
          </p:cNvPr>
          <p:cNvSpPr txBox="1"/>
          <p:nvPr/>
        </p:nvSpPr>
        <p:spPr>
          <a:xfrm>
            <a:off x="730413" y="1799848"/>
            <a:ext cx="6797609" cy="4524315"/>
          </a:xfrm>
          <a:prstGeom prst="rect">
            <a:avLst/>
          </a:prstGeom>
          <a:noFill/>
        </p:spPr>
        <p:txBody>
          <a:bodyPr wrap="square" rtlCol="0">
            <a:spAutoFit/>
          </a:bodyPr>
          <a:lstStyle/>
          <a:p>
            <a:pPr marL="457200" indent="-457200">
              <a:buFont typeface="Wingdings" panose="05000000000000000000" pitchFamily="2" charset="2"/>
              <a:buChar char="ü"/>
            </a:pPr>
            <a:r>
              <a:rPr lang="en-US" sz="3200" dirty="0">
                <a:solidFill>
                  <a:schemeClr val="accent6">
                    <a:lumMod val="40000"/>
                    <a:lumOff val="60000"/>
                  </a:schemeClr>
                </a:solidFill>
              </a:rPr>
              <a:t>Confidentiality</a:t>
            </a:r>
          </a:p>
          <a:p>
            <a:pPr marL="457200" indent="-457200">
              <a:buFont typeface="Wingdings" panose="05000000000000000000" pitchFamily="2" charset="2"/>
              <a:buChar char="ü"/>
            </a:pPr>
            <a:r>
              <a:rPr lang="en-US" sz="3200" dirty="0">
                <a:solidFill>
                  <a:schemeClr val="accent6">
                    <a:lumMod val="40000"/>
                    <a:lumOff val="60000"/>
                  </a:schemeClr>
                </a:solidFill>
              </a:rPr>
              <a:t>Covert Communication</a:t>
            </a:r>
          </a:p>
          <a:p>
            <a:pPr marL="457200" indent="-457200">
              <a:buFont typeface="Wingdings" panose="05000000000000000000" pitchFamily="2" charset="2"/>
              <a:buChar char="ü"/>
            </a:pPr>
            <a:r>
              <a:rPr lang="en-US" sz="3200" dirty="0">
                <a:solidFill>
                  <a:schemeClr val="accent6">
                    <a:lumMod val="40000"/>
                    <a:lumOff val="60000"/>
                  </a:schemeClr>
                </a:solidFill>
              </a:rPr>
              <a:t>Copyright Protection</a:t>
            </a:r>
          </a:p>
          <a:p>
            <a:pPr marL="457200" indent="-457200">
              <a:buFont typeface="Wingdings" panose="05000000000000000000" pitchFamily="2" charset="2"/>
              <a:buChar char="ü"/>
            </a:pPr>
            <a:r>
              <a:rPr lang="en-US" sz="3200" dirty="0">
                <a:solidFill>
                  <a:schemeClr val="accent6">
                    <a:lumMod val="40000"/>
                    <a:lumOff val="60000"/>
                  </a:schemeClr>
                </a:solidFill>
              </a:rPr>
              <a:t>Anonymity</a:t>
            </a:r>
          </a:p>
          <a:p>
            <a:pPr marL="457200" indent="-457200">
              <a:buFont typeface="Wingdings" panose="05000000000000000000" pitchFamily="2" charset="2"/>
              <a:buChar char="ü"/>
            </a:pPr>
            <a:r>
              <a:rPr lang="en-US" sz="3200" dirty="0">
                <a:solidFill>
                  <a:schemeClr val="accent6">
                    <a:lumMod val="40000"/>
                    <a:lumOff val="60000"/>
                  </a:schemeClr>
                </a:solidFill>
              </a:rPr>
              <a:t>Security Enhancement</a:t>
            </a:r>
          </a:p>
          <a:p>
            <a:pPr marL="457200" indent="-457200">
              <a:buFont typeface="Wingdings" panose="05000000000000000000" pitchFamily="2" charset="2"/>
              <a:buChar char="ü"/>
            </a:pPr>
            <a:r>
              <a:rPr lang="en-US" sz="3200" dirty="0">
                <a:solidFill>
                  <a:schemeClr val="accent6">
                    <a:lumMod val="40000"/>
                    <a:lumOff val="60000"/>
                  </a:schemeClr>
                </a:solidFill>
              </a:rPr>
              <a:t>Reduced Visibility</a:t>
            </a:r>
          </a:p>
          <a:p>
            <a:pPr marL="457200" indent="-457200">
              <a:buFont typeface="Wingdings" panose="05000000000000000000" pitchFamily="2" charset="2"/>
              <a:buChar char="ü"/>
            </a:pPr>
            <a:r>
              <a:rPr lang="en-US" sz="3200" dirty="0">
                <a:solidFill>
                  <a:schemeClr val="accent6">
                    <a:lumMod val="40000"/>
                    <a:lumOff val="60000"/>
                  </a:schemeClr>
                </a:solidFill>
              </a:rPr>
              <a:t>Evasion</a:t>
            </a:r>
          </a:p>
          <a:p>
            <a:pPr marL="457200" indent="-457200">
              <a:buFont typeface="Wingdings" panose="05000000000000000000" pitchFamily="2" charset="2"/>
              <a:buChar char="ü"/>
            </a:pPr>
            <a:r>
              <a:rPr lang="en-US" sz="3200" dirty="0">
                <a:solidFill>
                  <a:schemeClr val="accent6">
                    <a:lumMod val="40000"/>
                    <a:lumOff val="60000"/>
                  </a:schemeClr>
                </a:solidFill>
              </a:rPr>
              <a:t>Covert Exchange</a:t>
            </a:r>
          </a:p>
          <a:p>
            <a:pPr marL="457200" indent="-457200">
              <a:buFont typeface="Wingdings" panose="05000000000000000000" pitchFamily="2" charset="2"/>
              <a:buChar char="ü"/>
            </a:pPr>
            <a:r>
              <a:rPr lang="en-US" sz="3200" dirty="0">
                <a:solidFill>
                  <a:schemeClr val="accent6">
                    <a:lumMod val="40000"/>
                    <a:lumOff val="60000"/>
                  </a:schemeClr>
                </a:solidFill>
              </a:rPr>
              <a:t>Tamper Detection</a:t>
            </a:r>
          </a:p>
        </p:txBody>
      </p:sp>
      <p:pic>
        <p:nvPicPr>
          <p:cNvPr id="19" name="Picture 18">
            <a:extLst>
              <a:ext uri="{FF2B5EF4-FFF2-40B4-BE49-F238E27FC236}">
                <a16:creationId xmlns:a16="http://schemas.microsoft.com/office/drawing/2014/main" id="{CB08B3E8-1D8F-5225-6A85-419CBCCBDE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73665" y="192950"/>
            <a:ext cx="2073696" cy="2073696"/>
          </a:xfrm>
          <a:prstGeom prst="rect">
            <a:avLst/>
          </a:prstGeom>
        </p:spPr>
      </p:pic>
      <p:pic>
        <p:nvPicPr>
          <p:cNvPr id="24" name="Picture 23">
            <a:extLst>
              <a:ext uri="{FF2B5EF4-FFF2-40B4-BE49-F238E27FC236}">
                <a16:creationId xmlns:a16="http://schemas.microsoft.com/office/drawing/2014/main" id="{667F6170-DD3D-0B7D-90FD-ACC6746FAD7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57359" y="3169974"/>
            <a:ext cx="5296034" cy="3100594"/>
          </a:xfrm>
          <a:prstGeom prst="rect">
            <a:avLst/>
          </a:prstGeom>
          <a:ln w="127000" cap="sq">
            <a:solidFill>
              <a:srgbClr val="000000"/>
            </a:solidFill>
            <a:miter lim="800000"/>
          </a:ln>
          <a:effectLst>
            <a:outerShdw blurRad="57150" dist="50800" dir="2700000" algn="tl" rotWithShape="0">
              <a:srgbClr val="000000">
                <a:alpha val="40000"/>
              </a:srgbClr>
            </a:outerShdw>
          </a:effectLst>
        </p:spPr>
      </p:pic>
    </p:spTree>
    <p:extLst>
      <p:ext uri="{BB962C8B-B14F-4D97-AF65-F5344CB8AC3E}">
        <p14:creationId xmlns:p14="http://schemas.microsoft.com/office/powerpoint/2010/main" val="67056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5">
                                            <p:txEl>
                                              <p:pRg st="0" end="0"/>
                                            </p:txEl>
                                          </p:spTgt>
                                        </p:tgtEl>
                                        <p:attrNameLst>
                                          <p:attrName>style.visibility</p:attrName>
                                        </p:attrNameLst>
                                      </p:cBhvr>
                                      <p:to>
                                        <p:strVal val="visible"/>
                                      </p:to>
                                    </p:set>
                                    <p:animEffect transition="in" filter="fade">
                                      <p:cBhvr>
                                        <p:cTn id="14" dur="1000"/>
                                        <p:tgtEl>
                                          <p:spTgt spid="15">
                                            <p:txEl>
                                              <p:pRg st="0" end="0"/>
                                            </p:txEl>
                                          </p:spTgt>
                                        </p:tgtEl>
                                      </p:cBhvr>
                                    </p:animEffect>
                                    <p:anim calcmode="lin" valueType="num">
                                      <p:cBhvr>
                                        <p:cTn id="15" dur="1000" fill="hold"/>
                                        <p:tgtEl>
                                          <p:spTgt spid="15">
                                            <p:txEl>
                                              <p:pRg st="0" end="0"/>
                                            </p:txEl>
                                          </p:spTgt>
                                        </p:tgtEl>
                                        <p:attrNameLst>
                                          <p:attrName>ppt_x</p:attrName>
                                        </p:attrNameLst>
                                      </p:cBhvr>
                                      <p:tavLst>
                                        <p:tav tm="0">
                                          <p:val>
                                            <p:strVal val="#ppt_x"/>
                                          </p:val>
                                        </p:tav>
                                        <p:tav tm="100000">
                                          <p:val>
                                            <p:strVal val="#ppt_x"/>
                                          </p:val>
                                        </p:tav>
                                      </p:tavLst>
                                    </p:anim>
                                    <p:anim calcmode="lin" valueType="num">
                                      <p:cBhvr>
                                        <p:cTn id="16" dur="1000" fill="hold"/>
                                        <p:tgtEl>
                                          <p:spTgt spid="15">
                                            <p:txEl>
                                              <p:pRg st="0" end="0"/>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15">
                                            <p:txEl>
                                              <p:pRg st="1" end="1"/>
                                            </p:txEl>
                                          </p:spTgt>
                                        </p:tgtEl>
                                        <p:attrNameLst>
                                          <p:attrName>style.visibility</p:attrName>
                                        </p:attrNameLst>
                                      </p:cBhvr>
                                      <p:to>
                                        <p:strVal val="visible"/>
                                      </p:to>
                                    </p:set>
                                    <p:animEffect transition="in" filter="fade">
                                      <p:cBhvr>
                                        <p:cTn id="19" dur="1000"/>
                                        <p:tgtEl>
                                          <p:spTgt spid="15">
                                            <p:txEl>
                                              <p:pRg st="1" end="1"/>
                                            </p:txEl>
                                          </p:spTgt>
                                        </p:tgtEl>
                                      </p:cBhvr>
                                    </p:animEffect>
                                    <p:anim calcmode="lin" valueType="num">
                                      <p:cBhvr>
                                        <p:cTn id="20" dur="1000" fill="hold"/>
                                        <p:tgtEl>
                                          <p:spTgt spid="15">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15">
                                            <p:txEl>
                                              <p:pRg st="1" end="1"/>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15">
                                            <p:txEl>
                                              <p:pRg st="2" end="2"/>
                                            </p:txEl>
                                          </p:spTgt>
                                        </p:tgtEl>
                                        <p:attrNameLst>
                                          <p:attrName>style.visibility</p:attrName>
                                        </p:attrNameLst>
                                      </p:cBhvr>
                                      <p:to>
                                        <p:strVal val="visible"/>
                                      </p:to>
                                    </p:set>
                                    <p:animEffect transition="in" filter="fade">
                                      <p:cBhvr>
                                        <p:cTn id="24" dur="1000"/>
                                        <p:tgtEl>
                                          <p:spTgt spid="15">
                                            <p:txEl>
                                              <p:pRg st="2" end="2"/>
                                            </p:txEl>
                                          </p:spTgt>
                                        </p:tgtEl>
                                      </p:cBhvr>
                                    </p:animEffect>
                                    <p:anim calcmode="lin" valueType="num">
                                      <p:cBhvr>
                                        <p:cTn id="25" dur="1000" fill="hold"/>
                                        <p:tgtEl>
                                          <p:spTgt spid="15">
                                            <p:txEl>
                                              <p:pRg st="2" end="2"/>
                                            </p:txEl>
                                          </p:spTgt>
                                        </p:tgtEl>
                                        <p:attrNameLst>
                                          <p:attrName>ppt_x</p:attrName>
                                        </p:attrNameLst>
                                      </p:cBhvr>
                                      <p:tavLst>
                                        <p:tav tm="0">
                                          <p:val>
                                            <p:strVal val="#ppt_x"/>
                                          </p:val>
                                        </p:tav>
                                        <p:tav tm="100000">
                                          <p:val>
                                            <p:strVal val="#ppt_x"/>
                                          </p:val>
                                        </p:tav>
                                      </p:tavLst>
                                    </p:anim>
                                    <p:anim calcmode="lin" valueType="num">
                                      <p:cBhvr>
                                        <p:cTn id="26" dur="1000" fill="hold"/>
                                        <p:tgtEl>
                                          <p:spTgt spid="15">
                                            <p:txEl>
                                              <p:pRg st="2" end="2"/>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15">
                                            <p:txEl>
                                              <p:pRg st="3" end="3"/>
                                            </p:txEl>
                                          </p:spTgt>
                                        </p:tgtEl>
                                        <p:attrNameLst>
                                          <p:attrName>style.visibility</p:attrName>
                                        </p:attrNameLst>
                                      </p:cBhvr>
                                      <p:to>
                                        <p:strVal val="visible"/>
                                      </p:to>
                                    </p:set>
                                    <p:animEffect transition="in" filter="fade">
                                      <p:cBhvr>
                                        <p:cTn id="29" dur="1000"/>
                                        <p:tgtEl>
                                          <p:spTgt spid="15">
                                            <p:txEl>
                                              <p:pRg st="3" end="3"/>
                                            </p:txEl>
                                          </p:spTgt>
                                        </p:tgtEl>
                                      </p:cBhvr>
                                    </p:animEffect>
                                    <p:anim calcmode="lin" valueType="num">
                                      <p:cBhvr>
                                        <p:cTn id="30" dur="1000" fill="hold"/>
                                        <p:tgtEl>
                                          <p:spTgt spid="15">
                                            <p:txEl>
                                              <p:pRg st="3" end="3"/>
                                            </p:txEl>
                                          </p:spTgt>
                                        </p:tgtEl>
                                        <p:attrNameLst>
                                          <p:attrName>ppt_x</p:attrName>
                                        </p:attrNameLst>
                                      </p:cBhvr>
                                      <p:tavLst>
                                        <p:tav tm="0">
                                          <p:val>
                                            <p:strVal val="#ppt_x"/>
                                          </p:val>
                                        </p:tav>
                                        <p:tav tm="100000">
                                          <p:val>
                                            <p:strVal val="#ppt_x"/>
                                          </p:val>
                                        </p:tav>
                                      </p:tavLst>
                                    </p:anim>
                                    <p:anim calcmode="lin" valueType="num">
                                      <p:cBhvr>
                                        <p:cTn id="31" dur="1000" fill="hold"/>
                                        <p:tgtEl>
                                          <p:spTgt spid="15">
                                            <p:txEl>
                                              <p:pRg st="3" end="3"/>
                                            </p:txEl>
                                          </p:spTgt>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5">
                                            <p:txEl>
                                              <p:pRg st="4" end="4"/>
                                            </p:txEl>
                                          </p:spTgt>
                                        </p:tgtEl>
                                        <p:attrNameLst>
                                          <p:attrName>style.visibility</p:attrName>
                                        </p:attrNameLst>
                                      </p:cBhvr>
                                      <p:to>
                                        <p:strVal val="visible"/>
                                      </p:to>
                                    </p:set>
                                    <p:animEffect transition="in" filter="fade">
                                      <p:cBhvr>
                                        <p:cTn id="34" dur="1000"/>
                                        <p:tgtEl>
                                          <p:spTgt spid="15">
                                            <p:txEl>
                                              <p:pRg st="4" end="4"/>
                                            </p:txEl>
                                          </p:spTgt>
                                        </p:tgtEl>
                                      </p:cBhvr>
                                    </p:animEffect>
                                    <p:anim calcmode="lin" valueType="num">
                                      <p:cBhvr>
                                        <p:cTn id="35" dur="1000" fill="hold"/>
                                        <p:tgtEl>
                                          <p:spTgt spid="15">
                                            <p:txEl>
                                              <p:pRg st="4" end="4"/>
                                            </p:txEl>
                                          </p:spTgt>
                                        </p:tgtEl>
                                        <p:attrNameLst>
                                          <p:attrName>ppt_x</p:attrName>
                                        </p:attrNameLst>
                                      </p:cBhvr>
                                      <p:tavLst>
                                        <p:tav tm="0">
                                          <p:val>
                                            <p:strVal val="#ppt_x"/>
                                          </p:val>
                                        </p:tav>
                                        <p:tav tm="100000">
                                          <p:val>
                                            <p:strVal val="#ppt_x"/>
                                          </p:val>
                                        </p:tav>
                                      </p:tavLst>
                                    </p:anim>
                                    <p:anim calcmode="lin" valueType="num">
                                      <p:cBhvr>
                                        <p:cTn id="36" dur="1000" fill="hold"/>
                                        <p:tgtEl>
                                          <p:spTgt spid="15">
                                            <p:txEl>
                                              <p:pRg st="4" end="4"/>
                                            </p:txEl>
                                          </p:spTgt>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15">
                                            <p:txEl>
                                              <p:pRg st="5" end="5"/>
                                            </p:txEl>
                                          </p:spTgt>
                                        </p:tgtEl>
                                        <p:attrNameLst>
                                          <p:attrName>style.visibility</p:attrName>
                                        </p:attrNameLst>
                                      </p:cBhvr>
                                      <p:to>
                                        <p:strVal val="visible"/>
                                      </p:to>
                                    </p:set>
                                    <p:animEffect transition="in" filter="fade">
                                      <p:cBhvr>
                                        <p:cTn id="39" dur="1000"/>
                                        <p:tgtEl>
                                          <p:spTgt spid="15">
                                            <p:txEl>
                                              <p:pRg st="5" end="5"/>
                                            </p:txEl>
                                          </p:spTgt>
                                        </p:tgtEl>
                                      </p:cBhvr>
                                    </p:animEffect>
                                    <p:anim calcmode="lin" valueType="num">
                                      <p:cBhvr>
                                        <p:cTn id="40" dur="1000" fill="hold"/>
                                        <p:tgtEl>
                                          <p:spTgt spid="15">
                                            <p:txEl>
                                              <p:pRg st="5" end="5"/>
                                            </p:txEl>
                                          </p:spTgt>
                                        </p:tgtEl>
                                        <p:attrNameLst>
                                          <p:attrName>ppt_x</p:attrName>
                                        </p:attrNameLst>
                                      </p:cBhvr>
                                      <p:tavLst>
                                        <p:tav tm="0">
                                          <p:val>
                                            <p:strVal val="#ppt_x"/>
                                          </p:val>
                                        </p:tav>
                                        <p:tav tm="100000">
                                          <p:val>
                                            <p:strVal val="#ppt_x"/>
                                          </p:val>
                                        </p:tav>
                                      </p:tavLst>
                                    </p:anim>
                                    <p:anim calcmode="lin" valueType="num">
                                      <p:cBhvr>
                                        <p:cTn id="41" dur="1000" fill="hold"/>
                                        <p:tgtEl>
                                          <p:spTgt spid="15">
                                            <p:txEl>
                                              <p:pRg st="5" end="5"/>
                                            </p:txEl>
                                          </p:spTgt>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15">
                                            <p:txEl>
                                              <p:pRg st="6" end="6"/>
                                            </p:txEl>
                                          </p:spTgt>
                                        </p:tgtEl>
                                        <p:attrNameLst>
                                          <p:attrName>style.visibility</p:attrName>
                                        </p:attrNameLst>
                                      </p:cBhvr>
                                      <p:to>
                                        <p:strVal val="visible"/>
                                      </p:to>
                                    </p:set>
                                    <p:animEffect transition="in" filter="fade">
                                      <p:cBhvr>
                                        <p:cTn id="44" dur="1000"/>
                                        <p:tgtEl>
                                          <p:spTgt spid="15">
                                            <p:txEl>
                                              <p:pRg st="6" end="6"/>
                                            </p:txEl>
                                          </p:spTgt>
                                        </p:tgtEl>
                                      </p:cBhvr>
                                    </p:animEffect>
                                    <p:anim calcmode="lin" valueType="num">
                                      <p:cBhvr>
                                        <p:cTn id="45" dur="1000" fill="hold"/>
                                        <p:tgtEl>
                                          <p:spTgt spid="15">
                                            <p:txEl>
                                              <p:pRg st="6" end="6"/>
                                            </p:txEl>
                                          </p:spTgt>
                                        </p:tgtEl>
                                        <p:attrNameLst>
                                          <p:attrName>ppt_x</p:attrName>
                                        </p:attrNameLst>
                                      </p:cBhvr>
                                      <p:tavLst>
                                        <p:tav tm="0">
                                          <p:val>
                                            <p:strVal val="#ppt_x"/>
                                          </p:val>
                                        </p:tav>
                                        <p:tav tm="100000">
                                          <p:val>
                                            <p:strVal val="#ppt_x"/>
                                          </p:val>
                                        </p:tav>
                                      </p:tavLst>
                                    </p:anim>
                                    <p:anim calcmode="lin" valueType="num">
                                      <p:cBhvr>
                                        <p:cTn id="46" dur="1000" fill="hold"/>
                                        <p:tgtEl>
                                          <p:spTgt spid="15">
                                            <p:txEl>
                                              <p:pRg st="6" end="6"/>
                                            </p:txEl>
                                          </p:spTgt>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15">
                                            <p:txEl>
                                              <p:pRg st="7" end="7"/>
                                            </p:txEl>
                                          </p:spTgt>
                                        </p:tgtEl>
                                        <p:attrNameLst>
                                          <p:attrName>style.visibility</p:attrName>
                                        </p:attrNameLst>
                                      </p:cBhvr>
                                      <p:to>
                                        <p:strVal val="visible"/>
                                      </p:to>
                                    </p:set>
                                    <p:animEffect transition="in" filter="fade">
                                      <p:cBhvr>
                                        <p:cTn id="49" dur="1000"/>
                                        <p:tgtEl>
                                          <p:spTgt spid="15">
                                            <p:txEl>
                                              <p:pRg st="7" end="7"/>
                                            </p:txEl>
                                          </p:spTgt>
                                        </p:tgtEl>
                                      </p:cBhvr>
                                    </p:animEffect>
                                    <p:anim calcmode="lin" valueType="num">
                                      <p:cBhvr>
                                        <p:cTn id="50" dur="1000" fill="hold"/>
                                        <p:tgtEl>
                                          <p:spTgt spid="15">
                                            <p:txEl>
                                              <p:pRg st="7" end="7"/>
                                            </p:txEl>
                                          </p:spTgt>
                                        </p:tgtEl>
                                        <p:attrNameLst>
                                          <p:attrName>ppt_x</p:attrName>
                                        </p:attrNameLst>
                                      </p:cBhvr>
                                      <p:tavLst>
                                        <p:tav tm="0">
                                          <p:val>
                                            <p:strVal val="#ppt_x"/>
                                          </p:val>
                                        </p:tav>
                                        <p:tav tm="100000">
                                          <p:val>
                                            <p:strVal val="#ppt_x"/>
                                          </p:val>
                                        </p:tav>
                                      </p:tavLst>
                                    </p:anim>
                                    <p:anim calcmode="lin" valueType="num">
                                      <p:cBhvr>
                                        <p:cTn id="51" dur="1000" fill="hold"/>
                                        <p:tgtEl>
                                          <p:spTgt spid="15">
                                            <p:txEl>
                                              <p:pRg st="7" end="7"/>
                                            </p:txEl>
                                          </p:spTgt>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15">
                                            <p:txEl>
                                              <p:pRg st="8" end="8"/>
                                            </p:txEl>
                                          </p:spTgt>
                                        </p:tgtEl>
                                        <p:attrNameLst>
                                          <p:attrName>style.visibility</p:attrName>
                                        </p:attrNameLst>
                                      </p:cBhvr>
                                      <p:to>
                                        <p:strVal val="visible"/>
                                      </p:to>
                                    </p:set>
                                    <p:animEffect transition="in" filter="fade">
                                      <p:cBhvr>
                                        <p:cTn id="54" dur="1000"/>
                                        <p:tgtEl>
                                          <p:spTgt spid="15">
                                            <p:txEl>
                                              <p:pRg st="8" end="8"/>
                                            </p:txEl>
                                          </p:spTgt>
                                        </p:tgtEl>
                                      </p:cBhvr>
                                    </p:animEffect>
                                    <p:anim calcmode="lin" valueType="num">
                                      <p:cBhvr>
                                        <p:cTn id="55" dur="1000" fill="hold"/>
                                        <p:tgtEl>
                                          <p:spTgt spid="15">
                                            <p:txEl>
                                              <p:pRg st="8" end="8"/>
                                            </p:txEl>
                                          </p:spTgt>
                                        </p:tgtEl>
                                        <p:attrNameLst>
                                          <p:attrName>ppt_x</p:attrName>
                                        </p:attrNameLst>
                                      </p:cBhvr>
                                      <p:tavLst>
                                        <p:tav tm="0">
                                          <p:val>
                                            <p:strVal val="#ppt_x"/>
                                          </p:val>
                                        </p:tav>
                                        <p:tav tm="100000">
                                          <p:val>
                                            <p:strVal val="#ppt_x"/>
                                          </p:val>
                                        </p:tav>
                                      </p:tavLst>
                                    </p:anim>
                                    <p:anim calcmode="lin" valueType="num">
                                      <p:cBhvr>
                                        <p:cTn id="56" dur="1000" fill="hold"/>
                                        <p:tgtEl>
                                          <p:spTgt spid="15">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floor, indoor, living, room&#10;&#10;Description automatically generated">
            <a:extLst>
              <a:ext uri="{FF2B5EF4-FFF2-40B4-BE49-F238E27FC236}">
                <a16:creationId xmlns:a16="http://schemas.microsoft.com/office/drawing/2014/main" id="{9CEBF7D9-1A9C-6A09-AF3C-67745114F40C}"/>
              </a:ext>
            </a:extLst>
          </p:cNvPr>
          <p:cNvPicPr>
            <a:picLocks noChangeAspect="1"/>
          </p:cNvPicPr>
          <p:nvPr/>
        </p:nvPicPr>
        <p:blipFill>
          <a:blip r:embed="rId3">
            <a:extLst>
              <a:ext uri="{28A0092B-C50C-407E-A947-70E740481C1C}">
                <a14:useLocalDpi xmlns:a14="http://schemas.microsoft.com/office/drawing/2010/main" val="0"/>
              </a:ext>
            </a:extLst>
          </a:blip>
          <a:srcRect l="1025" t="8678" r="1025" b="8678"/>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29" name="Freeform: Shape 28">
            <a:extLst>
              <a:ext uri="{FF2B5EF4-FFF2-40B4-BE49-F238E27FC236}">
                <a16:creationId xmlns:a16="http://schemas.microsoft.com/office/drawing/2014/main" id="{F963FDCE-A721-39BB-4915-B92E19A2DFD0}"/>
              </a:ext>
            </a:extLst>
          </p:cNvPr>
          <p:cNvSpPr/>
          <p:nvPr/>
        </p:nvSpPr>
        <p:spPr>
          <a:xfrm>
            <a:off x="9563132" y="4786009"/>
            <a:ext cx="2628868" cy="2071991"/>
          </a:xfrm>
          <a:custGeom>
            <a:avLst/>
            <a:gdLst>
              <a:gd name="connsiteX0" fmla="*/ 8231829 w 8231829"/>
              <a:gd name="connsiteY0" fmla="*/ 0 h 6488067"/>
              <a:gd name="connsiteX1" fmla="*/ 8231829 w 8231829"/>
              <a:gd name="connsiteY1" fmla="*/ 6488067 h 6488067"/>
              <a:gd name="connsiteX2" fmla="*/ 0 w 8231829"/>
              <a:gd name="connsiteY2" fmla="*/ 6488067 h 6488067"/>
            </a:gdLst>
            <a:ahLst/>
            <a:cxnLst>
              <a:cxn ang="0">
                <a:pos x="connsiteX0" y="connsiteY0"/>
              </a:cxn>
              <a:cxn ang="0">
                <a:pos x="connsiteX1" y="connsiteY1"/>
              </a:cxn>
              <a:cxn ang="0">
                <a:pos x="connsiteX2" y="connsiteY2"/>
              </a:cxn>
            </a:cxnLst>
            <a:rect l="l" t="t" r="r" b="b"/>
            <a:pathLst>
              <a:path w="8231829" h="6488067">
                <a:moveTo>
                  <a:pt x="8231829" y="0"/>
                </a:moveTo>
                <a:lnTo>
                  <a:pt x="8231829" y="6488067"/>
                </a:lnTo>
                <a:lnTo>
                  <a:pt x="0" y="6488067"/>
                </a:lnTo>
                <a:close/>
              </a:path>
            </a:pathLst>
          </a:custGeom>
          <a:pattFill prst="wdUpDiag">
            <a:fgClr>
              <a:srgbClr val="7730CA"/>
            </a:fgClr>
            <a:bgClr>
              <a:srgbClr val="0B0328"/>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0" name="Picture 29" descr="A picture containing floor, indoor, living, room&#10;&#10;Description automatically generated">
            <a:extLst>
              <a:ext uri="{FF2B5EF4-FFF2-40B4-BE49-F238E27FC236}">
                <a16:creationId xmlns:a16="http://schemas.microsoft.com/office/drawing/2014/main" id="{7C1EEF99-1644-AAFB-3B04-0441B88A5AA4}"/>
              </a:ext>
            </a:extLst>
          </p:cNvPr>
          <p:cNvPicPr>
            <a:picLocks noChangeAspect="1"/>
          </p:cNvPicPr>
          <p:nvPr/>
        </p:nvPicPr>
        <p:blipFill>
          <a:blip r:embed="rId3">
            <a:alphaModFix amt="50000"/>
            <a:extLst>
              <a:ext uri="{28A0092B-C50C-407E-A947-70E740481C1C}">
                <a14:useLocalDpi xmlns:a14="http://schemas.microsoft.com/office/drawing/2010/main" val="0"/>
              </a:ext>
            </a:extLst>
          </a:blip>
          <a:srcRect l="1025" t="8678" r="1025" b="8678"/>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1" name="Rectangle 10">
            <a:extLst>
              <a:ext uri="{FF2B5EF4-FFF2-40B4-BE49-F238E27FC236}">
                <a16:creationId xmlns:a16="http://schemas.microsoft.com/office/drawing/2014/main" id="{F0179256-5D08-0EA7-BFC9-86754F7E7FF9}"/>
              </a:ext>
            </a:extLst>
          </p:cNvPr>
          <p:cNvSpPr/>
          <p:nvPr/>
        </p:nvSpPr>
        <p:spPr>
          <a:xfrm>
            <a:off x="0" y="0"/>
            <a:ext cx="12192000" cy="6858000"/>
          </a:xfrm>
          <a:prstGeom prst="rect">
            <a:avLst/>
          </a:prstGeom>
          <a:solidFill>
            <a:srgbClr val="7730CA">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F6F758A8-BFD2-E097-0910-4D8B67BBB6EF}"/>
              </a:ext>
            </a:extLst>
          </p:cNvPr>
          <p:cNvSpPr/>
          <p:nvPr/>
        </p:nvSpPr>
        <p:spPr>
          <a:xfrm>
            <a:off x="2856000" y="189000"/>
            <a:ext cx="6480000" cy="6480000"/>
          </a:xfrm>
          <a:prstGeom prst="ellipse">
            <a:avLst/>
          </a:prstGeom>
          <a:solidFill>
            <a:srgbClr val="C0A8FE">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782CD9F1-3C4D-F689-84A8-18148F5AB570}"/>
              </a:ext>
            </a:extLst>
          </p:cNvPr>
          <p:cNvSpPr/>
          <p:nvPr/>
        </p:nvSpPr>
        <p:spPr>
          <a:xfrm>
            <a:off x="1781175" y="-9728"/>
            <a:ext cx="10410825" cy="686772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10204315 w 12192000"/>
              <a:gd name="connsiteY0" fmla="*/ 0 h 6867727"/>
              <a:gd name="connsiteX1" fmla="*/ 12192000 w 12192000"/>
              <a:gd name="connsiteY1" fmla="*/ 9727 h 6867727"/>
              <a:gd name="connsiteX2" fmla="*/ 12192000 w 12192000"/>
              <a:gd name="connsiteY2" fmla="*/ 6867727 h 6867727"/>
              <a:gd name="connsiteX3" fmla="*/ 0 w 12192000"/>
              <a:gd name="connsiteY3" fmla="*/ 6867727 h 6867727"/>
              <a:gd name="connsiteX4" fmla="*/ 10204315 w 12192000"/>
              <a:gd name="connsiteY4" fmla="*/ 0 h 6867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67727">
                <a:moveTo>
                  <a:pt x="10204315" y="0"/>
                </a:moveTo>
                <a:lnTo>
                  <a:pt x="12192000" y="9727"/>
                </a:lnTo>
                <a:lnTo>
                  <a:pt x="12192000" y="6867727"/>
                </a:lnTo>
                <a:lnTo>
                  <a:pt x="0" y="6867727"/>
                </a:lnTo>
                <a:lnTo>
                  <a:pt x="10204315" y="0"/>
                </a:lnTo>
                <a:close/>
              </a:path>
            </a:pathLst>
          </a:custGeom>
          <a:solidFill>
            <a:srgbClr val="C0A8FE">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Right Triangle 30">
            <a:extLst>
              <a:ext uri="{FF2B5EF4-FFF2-40B4-BE49-F238E27FC236}">
                <a16:creationId xmlns:a16="http://schemas.microsoft.com/office/drawing/2014/main" id="{B8E0E37D-3FDB-FFAB-D716-16F1232455EB}"/>
              </a:ext>
            </a:extLst>
          </p:cNvPr>
          <p:cNvSpPr/>
          <p:nvPr/>
        </p:nvSpPr>
        <p:spPr>
          <a:xfrm>
            <a:off x="0" y="4552650"/>
            <a:ext cx="3205424" cy="2305349"/>
          </a:xfrm>
          <a:prstGeom prst="rtTriangle">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Right Triangle 31">
            <a:extLst>
              <a:ext uri="{FF2B5EF4-FFF2-40B4-BE49-F238E27FC236}">
                <a16:creationId xmlns:a16="http://schemas.microsoft.com/office/drawing/2014/main" id="{4EBAE4F7-1AC4-3618-6A59-39B909F00649}"/>
              </a:ext>
            </a:extLst>
          </p:cNvPr>
          <p:cNvSpPr/>
          <p:nvPr/>
        </p:nvSpPr>
        <p:spPr>
          <a:xfrm>
            <a:off x="1" y="4941078"/>
            <a:ext cx="2665342" cy="1916921"/>
          </a:xfrm>
          <a:prstGeom prst="rtTriangle">
            <a:avLst/>
          </a:prstGeom>
          <a:solidFill>
            <a:srgbClr val="0B0328">
              <a:alpha val="1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4" name="Straight Connector 33">
            <a:extLst>
              <a:ext uri="{FF2B5EF4-FFF2-40B4-BE49-F238E27FC236}">
                <a16:creationId xmlns:a16="http://schemas.microsoft.com/office/drawing/2014/main" id="{270C7289-2DF6-6084-53B5-D62C0A6851A3}"/>
              </a:ext>
            </a:extLst>
          </p:cNvPr>
          <p:cNvCxnSpPr>
            <a:cxnSpLocks/>
          </p:cNvCxnSpPr>
          <p:nvPr/>
        </p:nvCxnSpPr>
        <p:spPr>
          <a:xfrm flipH="1">
            <a:off x="2401556" y="6287352"/>
            <a:ext cx="9261908" cy="0"/>
          </a:xfrm>
          <a:prstGeom prst="line">
            <a:avLst/>
          </a:prstGeom>
          <a:ln>
            <a:solidFill>
              <a:srgbClr val="C0A8FE"/>
            </a:solidFill>
          </a:ln>
        </p:spPr>
        <p:style>
          <a:lnRef idx="1">
            <a:schemeClr val="accent1"/>
          </a:lnRef>
          <a:fillRef idx="0">
            <a:schemeClr val="accent1"/>
          </a:fillRef>
          <a:effectRef idx="0">
            <a:schemeClr val="accent1"/>
          </a:effectRef>
          <a:fontRef idx="minor">
            <a:schemeClr val="tx1"/>
          </a:fontRef>
        </p:style>
      </p:cxnSp>
      <p:sp>
        <p:nvSpPr>
          <p:cNvPr id="21" name="Freeform: Shape 20">
            <a:extLst>
              <a:ext uri="{FF2B5EF4-FFF2-40B4-BE49-F238E27FC236}">
                <a16:creationId xmlns:a16="http://schemas.microsoft.com/office/drawing/2014/main" id="{F24BCBE7-E6B1-D48E-8672-DA16C1808A89}"/>
              </a:ext>
            </a:extLst>
          </p:cNvPr>
          <p:cNvSpPr/>
          <p:nvPr/>
        </p:nvSpPr>
        <p:spPr>
          <a:xfrm rot="2700000">
            <a:off x="1421837" y="5917155"/>
            <a:ext cx="743925" cy="740395"/>
          </a:xfrm>
          <a:custGeom>
            <a:avLst/>
            <a:gdLst>
              <a:gd name="connsiteX0" fmla="*/ 613392 w 743925"/>
              <a:gd name="connsiteY0" fmla="*/ 455921 h 740395"/>
              <a:gd name="connsiteX1" fmla="*/ 742447 w 743925"/>
              <a:gd name="connsiteY1" fmla="*/ 455921 h 740395"/>
              <a:gd name="connsiteX2" fmla="*/ 723021 w 743925"/>
              <a:gd name="connsiteY2" fmla="*/ 518499 h 740395"/>
              <a:gd name="connsiteX3" fmla="*/ 485260 w 743925"/>
              <a:gd name="connsiteY3" fmla="*/ 734066 h 740395"/>
              <a:gd name="connsiteX4" fmla="*/ 467211 w 743925"/>
              <a:gd name="connsiteY4" fmla="*/ 736795 h 740395"/>
              <a:gd name="connsiteX5" fmla="*/ 467211 w 743925"/>
              <a:gd name="connsiteY5" fmla="*/ 608670 h 740395"/>
              <a:gd name="connsiteX6" fmla="*/ 472067 w 743925"/>
              <a:gd name="connsiteY6" fmla="*/ 607163 h 740395"/>
              <a:gd name="connsiteX7" fmla="*/ 608928 w 743925"/>
              <a:gd name="connsiteY7" fmla="*/ 470301 h 740395"/>
              <a:gd name="connsiteX8" fmla="*/ 1478 w 743925"/>
              <a:gd name="connsiteY8" fmla="*/ 455921 h 740395"/>
              <a:gd name="connsiteX9" fmla="*/ 130533 w 743925"/>
              <a:gd name="connsiteY9" fmla="*/ 455921 h 740395"/>
              <a:gd name="connsiteX10" fmla="*/ 134996 w 743925"/>
              <a:gd name="connsiteY10" fmla="*/ 470301 h 740395"/>
              <a:gd name="connsiteX11" fmla="*/ 271858 w 743925"/>
              <a:gd name="connsiteY11" fmla="*/ 607163 h 740395"/>
              <a:gd name="connsiteX12" fmla="*/ 300524 w 743925"/>
              <a:gd name="connsiteY12" fmla="*/ 616061 h 740395"/>
              <a:gd name="connsiteX13" fmla="*/ 300524 w 743925"/>
              <a:gd name="connsiteY13" fmla="*/ 740395 h 740395"/>
              <a:gd name="connsiteX14" fmla="*/ 258665 w 743925"/>
              <a:gd name="connsiteY14" fmla="*/ 734066 h 740395"/>
              <a:gd name="connsiteX15" fmla="*/ 20903 w 743925"/>
              <a:gd name="connsiteY15" fmla="*/ 518499 h 740395"/>
              <a:gd name="connsiteX16" fmla="*/ 467211 w 743925"/>
              <a:gd name="connsiteY16" fmla="*/ 3599 h 740395"/>
              <a:gd name="connsiteX17" fmla="*/ 485260 w 743925"/>
              <a:gd name="connsiteY17" fmla="*/ 6328 h 740395"/>
              <a:gd name="connsiteX18" fmla="*/ 723021 w 743925"/>
              <a:gd name="connsiteY18" fmla="*/ 221896 h 740395"/>
              <a:gd name="connsiteX19" fmla="*/ 743925 w 743925"/>
              <a:gd name="connsiteY19" fmla="*/ 289234 h 740395"/>
              <a:gd name="connsiteX20" fmla="*/ 614870 w 743925"/>
              <a:gd name="connsiteY20" fmla="*/ 289234 h 740395"/>
              <a:gd name="connsiteX21" fmla="*/ 608928 w 743925"/>
              <a:gd name="connsiteY21" fmla="*/ 270093 h 740395"/>
              <a:gd name="connsiteX22" fmla="*/ 472067 w 743925"/>
              <a:gd name="connsiteY22" fmla="*/ 133231 h 740395"/>
              <a:gd name="connsiteX23" fmla="*/ 467211 w 743925"/>
              <a:gd name="connsiteY23" fmla="*/ 131724 h 740395"/>
              <a:gd name="connsiteX24" fmla="*/ 300524 w 743925"/>
              <a:gd name="connsiteY24" fmla="*/ 0 h 740395"/>
              <a:gd name="connsiteX25" fmla="*/ 300524 w 743925"/>
              <a:gd name="connsiteY25" fmla="*/ 124333 h 740395"/>
              <a:gd name="connsiteX26" fmla="*/ 271858 w 743925"/>
              <a:gd name="connsiteY26" fmla="*/ 133231 h 740395"/>
              <a:gd name="connsiteX27" fmla="*/ 134996 w 743925"/>
              <a:gd name="connsiteY27" fmla="*/ 270093 h 740395"/>
              <a:gd name="connsiteX28" fmla="*/ 129055 w 743925"/>
              <a:gd name="connsiteY28" fmla="*/ 289234 h 740395"/>
              <a:gd name="connsiteX29" fmla="*/ 0 w 743925"/>
              <a:gd name="connsiteY29" fmla="*/ 289234 h 740395"/>
              <a:gd name="connsiteX30" fmla="*/ 20903 w 743925"/>
              <a:gd name="connsiteY30" fmla="*/ 221896 h 740395"/>
              <a:gd name="connsiteX31" fmla="*/ 258665 w 743925"/>
              <a:gd name="connsiteY31" fmla="*/ 6328 h 74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43925" h="740395">
                <a:moveTo>
                  <a:pt x="613392" y="455921"/>
                </a:moveTo>
                <a:lnTo>
                  <a:pt x="742447" y="455921"/>
                </a:lnTo>
                <a:lnTo>
                  <a:pt x="723021" y="518499"/>
                </a:lnTo>
                <a:cubicBezTo>
                  <a:pt x="679642" y="621058"/>
                  <a:pt x="592632" y="700670"/>
                  <a:pt x="485260" y="734066"/>
                </a:cubicBezTo>
                <a:lnTo>
                  <a:pt x="467211" y="736795"/>
                </a:lnTo>
                <a:lnTo>
                  <a:pt x="467211" y="608670"/>
                </a:lnTo>
                <a:lnTo>
                  <a:pt x="472067" y="607163"/>
                </a:lnTo>
                <a:cubicBezTo>
                  <a:pt x="533603" y="581135"/>
                  <a:pt x="582900" y="531838"/>
                  <a:pt x="608928" y="470301"/>
                </a:cubicBezTo>
                <a:close/>
                <a:moveTo>
                  <a:pt x="1478" y="455921"/>
                </a:moveTo>
                <a:lnTo>
                  <a:pt x="130533" y="455921"/>
                </a:lnTo>
                <a:lnTo>
                  <a:pt x="134996" y="470301"/>
                </a:lnTo>
                <a:cubicBezTo>
                  <a:pt x="161024" y="531838"/>
                  <a:pt x="210322" y="581135"/>
                  <a:pt x="271858" y="607163"/>
                </a:cubicBezTo>
                <a:lnTo>
                  <a:pt x="300524" y="616061"/>
                </a:lnTo>
                <a:lnTo>
                  <a:pt x="300524" y="740395"/>
                </a:lnTo>
                <a:lnTo>
                  <a:pt x="258665" y="734066"/>
                </a:lnTo>
                <a:cubicBezTo>
                  <a:pt x="151293" y="700670"/>
                  <a:pt x="64282" y="621058"/>
                  <a:pt x="20903" y="518499"/>
                </a:cubicBezTo>
                <a:close/>
                <a:moveTo>
                  <a:pt x="467211" y="3599"/>
                </a:moveTo>
                <a:lnTo>
                  <a:pt x="485260" y="6328"/>
                </a:lnTo>
                <a:cubicBezTo>
                  <a:pt x="592632" y="39724"/>
                  <a:pt x="679642" y="119336"/>
                  <a:pt x="723021" y="221896"/>
                </a:cubicBezTo>
                <a:lnTo>
                  <a:pt x="743925" y="289234"/>
                </a:lnTo>
                <a:lnTo>
                  <a:pt x="614870" y="289234"/>
                </a:lnTo>
                <a:lnTo>
                  <a:pt x="608928" y="270093"/>
                </a:lnTo>
                <a:cubicBezTo>
                  <a:pt x="582900" y="208557"/>
                  <a:pt x="533603" y="159259"/>
                  <a:pt x="472067" y="133231"/>
                </a:cubicBezTo>
                <a:lnTo>
                  <a:pt x="467211" y="131724"/>
                </a:lnTo>
                <a:close/>
                <a:moveTo>
                  <a:pt x="300524" y="0"/>
                </a:moveTo>
                <a:lnTo>
                  <a:pt x="300524" y="124333"/>
                </a:lnTo>
                <a:lnTo>
                  <a:pt x="271858" y="133231"/>
                </a:lnTo>
                <a:cubicBezTo>
                  <a:pt x="210322" y="159259"/>
                  <a:pt x="161024" y="208557"/>
                  <a:pt x="134996" y="270093"/>
                </a:cubicBezTo>
                <a:lnTo>
                  <a:pt x="129055" y="289234"/>
                </a:lnTo>
                <a:lnTo>
                  <a:pt x="0" y="289234"/>
                </a:lnTo>
                <a:lnTo>
                  <a:pt x="20903" y="221896"/>
                </a:lnTo>
                <a:cubicBezTo>
                  <a:pt x="64282" y="119336"/>
                  <a:pt x="151293" y="39724"/>
                  <a:pt x="258665" y="6328"/>
                </a:cubicBezTo>
                <a:close/>
              </a:path>
            </a:pathLst>
          </a:custGeom>
          <a:gradFill>
            <a:gsLst>
              <a:gs pos="0">
                <a:srgbClr val="C0A8FE">
                  <a:alpha val="65000"/>
                </a:srgbClr>
              </a:gs>
              <a:gs pos="100000">
                <a:srgbClr val="C0A8FE">
                  <a:alpha val="25000"/>
                </a:srgbClr>
              </a:gs>
            </a:gsLst>
            <a:lin ang="5400000" scaled="1"/>
          </a:gradFill>
          <a:ln w="38100">
            <a:noFill/>
          </a:ln>
          <a:effectLst>
            <a:outerShdw blurRad="1524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1CEDAE41-A289-83F7-16C3-B9CB815DF2DA}"/>
              </a:ext>
            </a:extLst>
          </p:cNvPr>
          <p:cNvSpPr/>
          <p:nvPr/>
        </p:nvSpPr>
        <p:spPr>
          <a:xfrm>
            <a:off x="1608063" y="6101613"/>
            <a:ext cx="371475" cy="371475"/>
          </a:xfrm>
          <a:prstGeom prst="ellipse">
            <a:avLst/>
          </a:prstGeom>
          <a:solidFill>
            <a:srgbClr val="604A8B"/>
          </a:solidFill>
          <a:ln w="38100">
            <a:solidFill>
              <a:srgbClr val="C0A8FE"/>
            </a:solidFill>
          </a:ln>
          <a:effectLst>
            <a:outerShdw blurRad="1524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Freeform: Shape 2">
            <a:extLst>
              <a:ext uri="{FF2B5EF4-FFF2-40B4-BE49-F238E27FC236}">
                <a16:creationId xmlns:a16="http://schemas.microsoft.com/office/drawing/2014/main" id="{0583632E-07B5-2607-5485-12F000069BFA}"/>
              </a:ext>
            </a:extLst>
          </p:cNvPr>
          <p:cNvSpPr/>
          <p:nvPr/>
        </p:nvSpPr>
        <p:spPr>
          <a:xfrm rot="16200000" flipH="1" flipV="1">
            <a:off x="11018635" y="5684635"/>
            <a:ext cx="1916920" cy="429809"/>
          </a:xfrm>
          <a:custGeom>
            <a:avLst/>
            <a:gdLst>
              <a:gd name="connsiteX0" fmla="*/ 0 w 2466979"/>
              <a:gd name="connsiteY0" fmla="*/ 95468 h 553142"/>
              <a:gd name="connsiteX1" fmla="*/ 0 w 2466979"/>
              <a:gd name="connsiteY1" fmla="*/ 95469 h 553142"/>
              <a:gd name="connsiteX2" fmla="*/ 0 w 2466979"/>
              <a:gd name="connsiteY2" fmla="*/ 95468 h 553142"/>
              <a:gd name="connsiteX3" fmla="*/ 2466979 w 2466979"/>
              <a:gd name="connsiteY3" fmla="*/ 0 h 553142"/>
              <a:gd name="connsiteX4" fmla="*/ 2466979 w 2466979"/>
              <a:gd name="connsiteY4" fmla="*/ 553142 h 553142"/>
              <a:gd name="connsiteX5" fmla="*/ 457673 w 2466979"/>
              <a:gd name="connsiteY5" fmla="*/ 553141 h 553142"/>
              <a:gd name="connsiteX6" fmla="*/ 9298 w 2466979"/>
              <a:gd name="connsiteY6" fmla="*/ 187705 h 553142"/>
              <a:gd name="connsiteX7" fmla="*/ 0 w 2466979"/>
              <a:gd name="connsiteY7" fmla="*/ 95468 h 553142"/>
              <a:gd name="connsiteX8" fmla="*/ 9298 w 2466979"/>
              <a:gd name="connsiteY8" fmla="*/ 3232 h 553142"/>
              <a:gd name="connsiteX9" fmla="*/ 10302 w 2466979"/>
              <a:gd name="connsiteY9" fmla="*/ 0 h 553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66979" h="553142">
                <a:moveTo>
                  <a:pt x="0" y="95468"/>
                </a:moveTo>
                <a:lnTo>
                  <a:pt x="0" y="95469"/>
                </a:lnTo>
                <a:lnTo>
                  <a:pt x="0" y="95468"/>
                </a:lnTo>
                <a:close/>
                <a:moveTo>
                  <a:pt x="2466979" y="0"/>
                </a:moveTo>
                <a:lnTo>
                  <a:pt x="2466979" y="553142"/>
                </a:lnTo>
                <a:lnTo>
                  <a:pt x="457673" y="553141"/>
                </a:lnTo>
                <a:cubicBezTo>
                  <a:pt x="236503" y="553141"/>
                  <a:pt x="51975" y="396259"/>
                  <a:pt x="9298" y="187705"/>
                </a:cubicBezTo>
                <a:lnTo>
                  <a:pt x="0" y="95468"/>
                </a:lnTo>
                <a:lnTo>
                  <a:pt x="9298" y="3232"/>
                </a:lnTo>
                <a:lnTo>
                  <a:pt x="10302" y="0"/>
                </a:lnTo>
                <a:close/>
              </a:path>
            </a:pathLst>
          </a:custGeom>
          <a:solidFill>
            <a:srgbClr val="0B032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3339F931-5E2F-3FF8-28DF-B92B258240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712" y="923365"/>
            <a:ext cx="4261069" cy="5745634"/>
          </a:xfrm>
          <a:prstGeom prst="rect">
            <a:avLst/>
          </a:prstGeom>
        </p:spPr>
      </p:pic>
      <p:pic>
        <p:nvPicPr>
          <p:cNvPr id="6" name="Picture 5">
            <a:hlinkClick r:id="rId5"/>
            <a:extLst>
              <a:ext uri="{FF2B5EF4-FFF2-40B4-BE49-F238E27FC236}">
                <a16:creationId xmlns:a16="http://schemas.microsoft.com/office/drawing/2014/main" id="{BF9C6082-19D6-0F0B-A0F7-3B2D15ED10B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0331" y="933093"/>
            <a:ext cx="3975304" cy="5745634"/>
          </a:xfrm>
          <a:prstGeom prst="rect">
            <a:avLst/>
          </a:prstGeom>
        </p:spPr>
      </p:pic>
      <p:sp>
        <p:nvSpPr>
          <p:cNvPr id="13" name="Rectangle: Rounded Corners 12">
            <a:hlinkClick r:id="rId5"/>
            <a:extLst>
              <a:ext uri="{FF2B5EF4-FFF2-40B4-BE49-F238E27FC236}">
                <a16:creationId xmlns:a16="http://schemas.microsoft.com/office/drawing/2014/main" id="{DAFDEF1A-7857-404D-8801-22EA80886D82}"/>
              </a:ext>
            </a:extLst>
          </p:cNvPr>
          <p:cNvSpPr/>
          <p:nvPr/>
        </p:nvSpPr>
        <p:spPr>
          <a:xfrm>
            <a:off x="8394361" y="907145"/>
            <a:ext cx="3496235" cy="5873081"/>
          </a:xfrm>
          <a:prstGeom prst="roundRect">
            <a:avLst/>
          </a:prstGeom>
          <a:blipFill dpi="0" rotWithShape="1">
            <a:blip r:embed="rId7">
              <a:alphaModFix amt="30000"/>
            </a:blip>
            <a:srcRect/>
            <a:stretch>
              <a:fillRect/>
            </a:stretch>
          </a:bli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highlight>
                  <a:srgbClr val="0B0328"/>
                </a:highlight>
                <a:hlinkClick r:id="rId5"/>
              </a:rPr>
              <a:t>https://github.com/</a:t>
            </a:r>
            <a:r>
              <a:rPr lang="en-US" dirty="0">
                <a:highlight>
                  <a:srgbClr val="0B0328"/>
                </a:highlight>
                <a:latin typeface="Berlin Sans FB Demi" panose="020E0802020502020306" pitchFamily="34" charset="0"/>
                <a:hlinkClick r:id="rId5"/>
              </a:rPr>
              <a:t>Madhusri-12it</a:t>
            </a:r>
            <a:r>
              <a:rPr lang="en-US" dirty="0">
                <a:highlight>
                  <a:srgbClr val="0B0328"/>
                </a:highlight>
                <a:hlinkClick r:id="rId5"/>
              </a:rPr>
              <a:t>/aicte-b3-project-cs-</a:t>
            </a:r>
            <a:endParaRPr lang="en-US" dirty="0">
              <a:highlight>
                <a:srgbClr val="0B0328"/>
              </a:highlight>
            </a:endParaRPr>
          </a:p>
        </p:txBody>
      </p:sp>
      <p:sp>
        <p:nvSpPr>
          <p:cNvPr id="14" name="TextBox 13">
            <a:extLst>
              <a:ext uri="{FF2B5EF4-FFF2-40B4-BE49-F238E27FC236}">
                <a16:creationId xmlns:a16="http://schemas.microsoft.com/office/drawing/2014/main" id="{ECA12AF6-C864-A329-D3F1-6FC37704B30E}"/>
              </a:ext>
            </a:extLst>
          </p:cNvPr>
          <p:cNvSpPr txBox="1"/>
          <p:nvPr/>
        </p:nvSpPr>
        <p:spPr>
          <a:xfrm>
            <a:off x="92712" y="26477"/>
            <a:ext cx="5644700" cy="769441"/>
          </a:xfrm>
          <a:prstGeom prst="rect">
            <a:avLst/>
          </a:prstGeom>
          <a:noFill/>
        </p:spPr>
        <p:txBody>
          <a:bodyPr wrap="square" rtlCol="0">
            <a:spAutoFit/>
          </a:bodyPr>
          <a:lstStyle/>
          <a:p>
            <a:r>
              <a:rPr lang="en-US" sz="4400" dirty="0">
                <a:solidFill>
                  <a:schemeClr val="bg1"/>
                </a:solidFill>
                <a:latin typeface="Algerian" panose="04020705040A02060702" pitchFamily="82" charset="0"/>
              </a:rPr>
              <a:t>CODE PROCESS : </a:t>
            </a:r>
          </a:p>
        </p:txBody>
      </p:sp>
      <p:sp>
        <p:nvSpPr>
          <p:cNvPr id="16" name="TextBox 15">
            <a:extLst>
              <a:ext uri="{FF2B5EF4-FFF2-40B4-BE49-F238E27FC236}">
                <a16:creationId xmlns:a16="http://schemas.microsoft.com/office/drawing/2014/main" id="{EEE76DED-893C-49F6-436A-0AB2F6F66909}"/>
              </a:ext>
            </a:extLst>
          </p:cNvPr>
          <p:cNvSpPr txBox="1"/>
          <p:nvPr/>
        </p:nvSpPr>
        <p:spPr>
          <a:xfrm>
            <a:off x="8391117" y="1226853"/>
            <a:ext cx="2894802" cy="584775"/>
          </a:xfrm>
          <a:prstGeom prst="rect">
            <a:avLst/>
          </a:prstGeom>
          <a:noFill/>
        </p:spPr>
        <p:txBody>
          <a:bodyPr wrap="square" rtlCol="0">
            <a:spAutoFit/>
          </a:bodyPr>
          <a:lstStyle/>
          <a:p>
            <a:r>
              <a:rPr lang="en-US" sz="3200" dirty="0"/>
              <a:t>PROJECT LINK :</a:t>
            </a:r>
            <a:endParaRPr lang="en-US" dirty="0"/>
          </a:p>
        </p:txBody>
      </p:sp>
      <p:pic>
        <p:nvPicPr>
          <p:cNvPr id="25" name="Picture 24">
            <a:extLst>
              <a:ext uri="{FF2B5EF4-FFF2-40B4-BE49-F238E27FC236}">
                <a16:creationId xmlns:a16="http://schemas.microsoft.com/office/drawing/2014/main" id="{9DD0FBAB-B8C8-51DF-9308-E96DF62CEC4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131474" y="1154207"/>
            <a:ext cx="738845" cy="738845"/>
          </a:xfrm>
          <a:prstGeom prst="rect">
            <a:avLst/>
          </a:prstGeom>
          <a:effectLst>
            <a:outerShdw blurRad="50800" dist="50800" dir="5400000" algn="ctr" rotWithShape="0">
              <a:schemeClr val="bg1">
                <a:alpha val="91000"/>
              </a:schemeClr>
            </a:outerShdw>
          </a:effectLst>
        </p:spPr>
      </p:pic>
    </p:spTree>
    <p:extLst>
      <p:ext uri="{BB962C8B-B14F-4D97-AF65-F5344CB8AC3E}">
        <p14:creationId xmlns:p14="http://schemas.microsoft.com/office/powerpoint/2010/main" val="170565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1000"/>
                                        <p:tgtEl>
                                          <p:spTgt spid="6"/>
                                        </p:tgtEl>
                                      </p:cBhvr>
                                    </p:animEffect>
                                    <p:anim calcmode="lin" valueType="num">
                                      <p:cBhvr>
                                        <p:cTn id="15" dur="1000" fill="hold"/>
                                        <p:tgtEl>
                                          <p:spTgt spid="6"/>
                                        </p:tgtEl>
                                        <p:attrNameLst>
                                          <p:attrName>ppt_x</p:attrName>
                                        </p:attrNameLst>
                                      </p:cBhvr>
                                      <p:tavLst>
                                        <p:tav tm="0">
                                          <p:val>
                                            <p:strVal val="#ppt_x"/>
                                          </p:val>
                                        </p:tav>
                                        <p:tav tm="100000">
                                          <p:val>
                                            <p:strVal val="#ppt_x"/>
                                          </p:val>
                                        </p:tav>
                                      </p:tavLst>
                                    </p:anim>
                                    <p:anim calcmode="lin" valueType="num">
                                      <p:cBhvr>
                                        <p:cTn id="1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1000"/>
                                        <p:tgtEl>
                                          <p:spTgt spid="13"/>
                                        </p:tgtEl>
                                      </p:cBhvr>
                                    </p:animEffect>
                                    <p:anim calcmode="lin" valueType="num">
                                      <p:cBhvr>
                                        <p:cTn id="22" dur="1000" fill="hold"/>
                                        <p:tgtEl>
                                          <p:spTgt spid="13"/>
                                        </p:tgtEl>
                                        <p:attrNameLst>
                                          <p:attrName>ppt_x</p:attrName>
                                        </p:attrNameLst>
                                      </p:cBhvr>
                                      <p:tavLst>
                                        <p:tav tm="0">
                                          <p:val>
                                            <p:strVal val="#ppt_x"/>
                                          </p:val>
                                        </p:tav>
                                        <p:tav tm="100000">
                                          <p:val>
                                            <p:strVal val="#ppt_x"/>
                                          </p:val>
                                        </p:tav>
                                      </p:tavLst>
                                    </p:anim>
                                    <p:anim calcmode="lin" valueType="num">
                                      <p:cBhvr>
                                        <p:cTn id="23"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ntegral">
  <a:themeElements>
    <a:clrScheme name="Integral">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ntegral</Template>
  <TotalTime>600</TotalTime>
  <Words>789</Words>
  <Application>Microsoft Office PowerPoint</Application>
  <PresentationFormat>Widescreen</PresentationFormat>
  <Paragraphs>110</Paragraphs>
  <Slides>12</Slides>
  <Notes>10</Notes>
  <HiddenSlides>0</HiddenSlides>
  <MMClips>0</MMClips>
  <ScaleCrop>false</ScaleCrop>
  <HeadingPairs>
    <vt:vector size="8" baseType="variant">
      <vt:variant>
        <vt:lpstr>Fonts Used</vt:lpstr>
      </vt:variant>
      <vt:variant>
        <vt:i4>18</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32" baseType="lpstr">
      <vt:lpstr>Algerian</vt:lpstr>
      <vt:lpstr>-apple-system</vt:lpstr>
      <vt:lpstr>Arial</vt:lpstr>
      <vt:lpstr>Bahnschrift</vt:lpstr>
      <vt:lpstr>Bell MT</vt:lpstr>
      <vt:lpstr>Berlin Sans FB</vt:lpstr>
      <vt:lpstr>Berlin Sans FB Demi</vt:lpstr>
      <vt:lpstr>Bernard MT Condensed</vt:lpstr>
      <vt:lpstr>Book Antiqua</vt:lpstr>
      <vt:lpstr>Calibri</vt:lpstr>
      <vt:lpstr>Castellar</vt:lpstr>
      <vt:lpstr>Perpetua</vt:lpstr>
      <vt:lpstr>Segoe UI</vt:lpstr>
      <vt:lpstr>Tw Cen MT</vt:lpstr>
      <vt:lpstr>Tw Cen MT Condensed</vt:lpstr>
      <vt:lpstr>Univers</vt:lpstr>
      <vt:lpstr>Wingdings</vt:lpstr>
      <vt:lpstr>Wingdings 3</vt:lpstr>
      <vt:lpstr>Integral</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24slides14</dc:creator>
  <cp:lastModifiedBy>CHODAVARAPU MADHUSRI</cp:lastModifiedBy>
  <cp:revision>51</cp:revision>
  <dcterms:created xsi:type="dcterms:W3CDTF">2022-08-22T01:52:34Z</dcterms:created>
  <dcterms:modified xsi:type="dcterms:W3CDTF">2023-11-23T18:06:53Z</dcterms:modified>
</cp:coreProperties>
</file>